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2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3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20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1"/>
    <p:sldMasterId id="2147483673" r:id="rId2"/>
    <p:sldMasterId id="2147483687" r:id="rId3"/>
    <p:sldMasterId id="2147483696" r:id="rId4"/>
  </p:sldMasterIdLst>
  <p:notesMasterIdLst>
    <p:notesMasterId r:id="rId43"/>
  </p:notesMasterIdLst>
  <p:sldIdLst>
    <p:sldId id="1722" r:id="rId5"/>
    <p:sldId id="4642" r:id="rId6"/>
    <p:sldId id="1731" r:id="rId7"/>
    <p:sldId id="1635" r:id="rId8"/>
    <p:sldId id="2260" r:id="rId9"/>
    <p:sldId id="2261" r:id="rId10"/>
    <p:sldId id="4730" r:id="rId11"/>
    <p:sldId id="4630" r:id="rId12"/>
    <p:sldId id="4705" r:id="rId13"/>
    <p:sldId id="1726" r:id="rId14"/>
    <p:sldId id="4627" r:id="rId15"/>
    <p:sldId id="1728" r:id="rId16"/>
    <p:sldId id="4774" r:id="rId17"/>
    <p:sldId id="2262" r:id="rId18"/>
    <p:sldId id="4775" r:id="rId19"/>
    <p:sldId id="2263" r:id="rId20"/>
    <p:sldId id="4671" r:id="rId21"/>
    <p:sldId id="2272" r:id="rId22"/>
    <p:sldId id="2274" r:id="rId23"/>
    <p:sldId id="2276" r:id="rId24"/>
    <p:sldId id="4643" r:id="rId25"/>
    <p:sldId id="1482" r:id="rId26"/>
    <p:sldId id="1091" r:id="rId27"/>
    <p:sldId id="4681" r:id="rId28"/>
    <p:sldId id="4682" r:id="rId29"/>
    <p:sldId id="4683" r:id="rId30"/>
    <p:sldId id="4684" r:id="rId31"/>
    <p:sldId id="4685" r:id="rId32"/>
    <p:sldId id="4686" r:id="rId33"/>
    <p:sldId id="4687" r:id="rId34"/>
    <p:sldId id="4778" r:id="rId35"/>
    <p:sldId id="4779" r:id="rId36"/>
    <p:sldId id="2388" r:id="rId37"/>
    <p:sldId id="4787" r:id="rId38"/>
    <p:sldId id="4788" r:id="rId39"/>
    <p:sldId id="4589" r:id="rId40"/>
    <p:sldId id="4776" r:id="rId41"/>
    <p:sldId id="4789" r:id="rId42"/>
  </p:sldIdLst>
  <p:sldSz cx="12192000" cy="6858000"/>
  <p:notesSz cx="6858000" cy="9144000"/>
  <p:embeddedFontLst>
    <p:embeddedFont>
      <p:font typeface="Calibri" panose="020F0502020204030204" pitchFamily="34" charset="0"/>
      <p:regular r:id="rId44"/>
      <p:bold r:id="rId45"/>
      <p:italic r:id="rId46"/>
      <p:boldItalic r:id="rId47"/>
    </p:embeddedFont>
    <p:embeddedFont>
      <p:font typeface="Calibri Light" panose="020F0302020204030204" pitchFamily="34" charset="0"/>
      <p:regular r:id="rId48"/>
      <p:italic r:id="rId49"/>
    </p:embeddedFont>
  </p:embeddedFontLst>
  <p:custDataLst>
    <p:tags r:id="rId50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FF00FF"/>
    <a:srgbClr val="00FF00"/>
    <a:srgbClr val="0000FF"/>
    <a:srgbClr val="000000"/>
    <a:srgbClr val="F3D9DC"/>
    <a:srgbClr val="EFCCCF"/>
    <a:srgbClr val="FFFFFF"/>
    <a:srgbClr val="F7E7E9"/>
    <a:srgbClr val="B0C2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96" autoAdjust="0"/>
    <p:restoredTop sz="96327" autoAdjust="0"/>
  </p:normalViewPr>
  <p:slideViewPr>
    <p:cSldViewPr snapToGrid="0">
      <p:cViewPr varScale="1">
        <p:scale>
          <a:sx n="104" d="100"/>
          <a:sy n="104" d="100"/>
        </p:scale>
        <p:origin x="294" y="102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318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font" Target="fonts/font4.fntdata"/><Relationship Id="rId50" Type="http://schemas.openxmlformats.org/officeDocument/2006/relationships/tags" Target="tags/tag1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font" Target="fonts/font2.fntdata"/><Relationship Id="rId53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font" Target="fonts/font1.fntdata"/><Relationship Id="rId52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notesMaster" Target="notesMasters/notesMaster1.xml"/><Relationship Id="rId48" Type="http://schemas.openxmlformats.org/officeDocument/2006/relationships/font" Target="fonts/font5.fntdata"/><Relationship Id="rId8" Type="http://schemas.openxmlformats.org/officeDocument/2006/relationships/slide" Target="slides/slide4.xml"/><Relationship Id="rId51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font" Target="fonts/font3.fntdata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font" Target="fonts/font6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315185741682282E-2"/>
          <c:y val="2.6417447585936279E-2"/>
          <c:w val="0.76661183243453179"/>
          <c:h val="0.87026380483546251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ZP celkem</c:v>
                </c:pt>
              </c:strCache>
            </c:strRef>
          </c:tx>
          <c:spPr>
            <a:ln w="28575" cap="rnd">
              <a:solidFill>
                <a:srgbClr val="000000"/>
              </a:solidFill>
              <a:round/>
            </a:ln>
            <a:effectLst/>
          </c:spPr>
          <c:marker>
            <c:symbol val="none"/>
          </c:marker>
          <c:cat>
            <c:strRef>
              <c:f>List1!$J$1:$OL$1</c:f>
              <c:strCache>
                <c:ptCount val="393"/>
                <c:pt idx="0">
                  <c:v>28.XII.20</c:v>
                </c:pt>
                <c:pt idx="1">
                  <c:v>29.XII.20</c:v>
                </c:pt>
                <c:pt idx="2">
                  <c:v>30.XII.20</c:v>
                </c:pt>
                <c:pt idx="3">
                  <c:v>31.XII.20</c:v>
                </c:pt>
                <c:pt idx="4">
                  <c:v>1.I.21</c:v>
                </c:pt>
                <c:pt idx="5">
                  <c:v>2.I.21</c:v>
                </c:pt>
                <c:pt idx="6">
                  <c:v>3.I.21</c:v>
                </c:pt>
                <c:pt idx="7">
                  <c:v>4.I.21</c:v>
                </c:pt>
                <c:pt idx="8">
                  <c:v>5.I.21</c:v>
                </c:pt>
                <c:pt idx="9">
                  <c:v>6.I.21</c:v>
                </c:pt>
                <c:pt idx="10">
                  <c:v>7.I.21</c:v>
                </c:pt>
                <c:pt idx="11">
                  <c:v>8.I.21</c:v>
                </c:pt>
                <c:pt idx="12">
                  <c:v>9.I.21</c:v>
                </c:pt>
                <c:pt idx="13">
                  <c:v>10.I.21</c:v>
                </c:pt>
                <c:pt idx="14">
                  <c:v>11.I.21</c:v>
                </c:pt>
                <c:pt idx="15">
                  <c:v>12.I.21</c:v>
                </c:pt>
                <c:pt idx="16">
                  <c:v>13.I.21</c:v>
                </c:pt>
                <c:pt idx="17">
                  <c:v>14.I.21</c:v>
                </c:pt>
                <c:pt idx="18">
                  <c:v>15.I.21</c:v>
                </c:pt>
                <c:pt idx="19">
                  <c:v>16.I.21</c:v>
                </c:pt>
                <c:pt idx="20">
                  <c:v>17.I.21</c:v>
                </c:pt>
                <c:pt idx="21">
                  <c:v>18.I.21</c:v>
                </c:pt>
                <c:pt idx="22">
                  <c:v>19.I.21</c:v>
                </c:pt>
                <c:pt idx="23">
                  <c:v>20.I.21</c:v>
                </c:pt>
                <c:pt idx="24">
                  <c:v>21.I.21</c:v>
                </c:pt>
                <c:pt idx="25">
                  <c:v>22.I.21</c:v>
                </c:pt>
                <c:pt idx="26">
                  <c:v>23.I.21</c:v>
                </c:pt>
                <c:pt idx="27">
                  <c:v>24.I.21</c:v>
                </c:pt>
                <c:pt idx="28">
                  <c:v>25.I.21</c:v>
                </c:pt>
                <c:pt idx="29">
                  <c:v>26.I.21</c:v>
                </c:pt>
                <c:pt idx="30">
                  <c:v>27.I.21</c:v>
                </c:pt>
                <c:pt idx="31">
                  <c:v>28.I.21</c:v>
                </c:pt>
                <c:pt idx="32">
                  <c:v>29.I.21</c:v>
                </c:pt>
                <c:pt idx="33">
                  <c:v>30.I.21</c:v>
                </c:pt>
                <c:pt idx="34">
                  <c:v>31.I.21</c:v>
                </c:pt>
                <c:pt idx="35">
                  <c:v>1.II.21</c:v>
                </c:pt>
                <c:pt idx="36">
                  <c:v>2.II.21</c:v>
                </c:pt>
                <c:pt idx="37">
                  <c:v>3.II.21</c:v>
                </c:pt>
                <c:pt idx="38">
                  <c:v>4.II.21</c:v>
                </c:pt>
                <c:pt idx="39">
                  <c:v>5.II.21</c:v>
                </c:pt>
                <c:pt idx="40">
                  <c:v>6.II.21</c:v>
                </c:pt>
                <c:pt idx="41">
                  <c:v>7.II.21</c:v>
                </c:pt>
                <c:pt idx="42">
                  <c:v>8.II.21</c:v>
                </c:pt>
                <c:pt idx="43">
                  <c:v>9.II.21</c:v>
                </c:pt>
                <c:pt idx="44">
                  <c:v>10.II.21</c:v>
                </c:pt>
                <c:pt idx="45">
                  <c:v>11.II.21</c:v>
                </c:pt>
                <c:pt idx="46">
                  <c:v>12.II.21</c:v>
                </c:pt>
                <c:pt idx="47">
                  <c:v>13.II.21</c:v>
                </c:pt>
                <c:pt idx="48">
                  <c:v>14.II.21</c:v>
                </c:pt>
                <c:pt idx="49">
                  <c:v>15.II.21</c:v>
                </c:pt>
                <c:pt idx="50">
                  <c:v>16.II.21</c:v>
                </c:pt>
                <c:pt idx="51">
                  <c:v>17.II.21</c:v>
                </c:pt>
                <c:pt idx="52">
                  <c:v>18.II.21</c:v>
                </c:pt>
                <c:pt idx="53">
                  <c:v>19.II.21</c:v>
                </c:pt>
                <c:pt idx="54">
                  <c:v>20.II.21</c:v>
                </c:pt>
                <c:pt idx="55">
                  <c:v>21.II.21</c:v>
                </c:pt>
                <c:pt idx="56">
                  <c:v>22.II.21</c:v>
                </c:pt>
                <c:pt idx="57">
                  <c:v>23.II.21</c:v>
                </c:pt>
                <c:pt idx="58">
                  <c:v>24.II.21</c:v>
                </c:pt>
                <c:pt idx="59">
                  <c:v>25.II.21</c:v>
                </c:pt>
                <c:pt idx="60">
                  <c:v>26.II.21</c:v>
                </c:pt>
                <c:pt idx="61">
                  <c:v>27.II.21</c:v>
                </c:pt>
                <c:pt idx="62">
                  <c:v>28.II.21</c:v>
                </c:pt>
                <c:pt idx="63">
                  <c:v>1.III.21</c:v>
                </c:pt>
                <c:pt idx="64">
                  <c:v>2.III.21</c:v>
                </c:pt>
                <c:pt idx="65">
                  <c:v>3.III.21</c:v>
                </c:pt>
                <c:pt idx="66">
                  <c:v>4.III.21</c:v>
                </c:pt>
                <c:pt idx="67">
                  <c:v>5.III.21</c:v>
                </c:pt>
                <c:pt idx="68">
                  <c:v>6.III.21</c:v>
                </c:pt>
                <c:pt idx="69">
                  <c:v>7.III.21</c:v>
                </c:pt>
                <c:pt idx="70">
                  <c:v>8.III.21</c:v>
                </c:pt>
                <c:pt idx="71">
                  <c:v>9.III.21</c:v>
                </c:pt>
                <c:pt idx="72">
                  <c:v>10.III.21</c:v>
                </c:pt>
                <c:pt idx="73">
                  <c:v>11.III.21</c:v>
                </c:pt>
                <c:pt idx="74">
                  <c:v>12.III.21</c:v>
                </c:pt>
                <c:pt idx="75">
                  <c:v>13.III.21</c:v>
                </c:pt>
                <c:pt idx="76">
                  <c:v>14.III.21</c:v>
                </c:pt>
                <c:pt idx="77">
                  <c:v>15.III.21</c:v>
                </c:pt>
                <c:pt idx="78">
                  <c:v>16.III.21</c:v>
                </c:pt>
                <c:pt idx="79">
                  <c:v>17.III.21</c:v>
                </c:pt>
                <c:pt idx="80">
                  <c:v>18.III.21</c:v>
                </c:pt>
                <c:pt idx="81">
                  <c:v>19.III.21</c:v>
                </c:pt>
                <c:pt idx="82">
                  <c:v>20.III.21</c:v>
                </c:pt>
                <c:pt idx="83">
                  <c:v>21.III.21</c:v>
                </c:pt>
                <c:pt idx="84">
                  <c:v>22.III.21</c:v>
                </c:pt>
                <c:pt idx="85">
                  <c:v>23.III.21</c:v>
                </c:pt>
                <c:pt idx="86">
                  <c:v>24.III.21</c:v>
                </c:pt>
                <c:pt idx="87">
                  <c:v>25.III.21</c:v>
                </c:pt>
                <c:pt idx="88">
                  <c:v>26.III.21</c:v>
                </c:pt>
                <c:pt idx="89">
                  <c:v>27.III.21</c:v>
                </c:pt>
                <c:pt idx="90">
                  <c:v>28.III.21</c:v>
                </c:pt>
                <c:pt idx="91">
                  <c:v>29.III.21</c:v>
                </c:pt>
                <c:pt idx="92">
                  <c:v>30.III.21</c:v>
                </c:pt>
                <c:pt idx="93">
                  <c:v>31.III.21</c:v>
                </c:pt>
                <c:pt idx="94">
                  <c:v>1.IV.21</c:v>
                </c:pt>
                <c:pt idx="95">
                  <c:v>2.IV.21</c:v>
                </c:pt>
                <c:pt idx="96">
                  <c:v>3.IV.21</c:v>
                </c:pt>
                <c:pt idx="97">
                  <c:v>4.IV.21</c:v>
                </c:pt>
                <c:pt idx="98">
                  <c:v>5.IV.21</c:v>
                </c:pt>
                <c:pt idx="99">
                  <c:v>6.IV.21</c:v>
                </c:pt>
                <c:pt idx="100">
                  <c:v>7.IV.21</c:v>
                </c:pt>
                <c:pt idx="101">
                  <c:v>8.IV.21</c:v>
                </c:pt>
                <c:pt idx="102">
                  <c:v>9.IV.21</c:v>
                </c:pt>
                <c:pt idx="103">
                  <c:v>10.IV.21</c:v>
                </c:pt>
                <c:pt idx="104">
                  <c:v>11.IV.21</c:v>
                </c:pt>
                <c:pt idx="105">
                  <c:v>12.IV.21</c:v>
                </c:pt>
                <c:pt idx="106">
                  <c:v>13.IV.21</c:v>
                </c:pt>
                <c:pt idx="107">
                  <c:v>14.IV.21</c:v>
                </c:pt>
                <c:pt idx="108">
                  <c:v>15.IV.21</c:v>
                </c:pt>
                <c:pt idx="109">
                  <c:v>16.IV.21</c:v>
                </c:pt>
                <c:pt idx="110">
                  <c:v>17.IV.21</c:v>
                </c:pt>
                <c:pt idx="111">
                  <c:v>18.IV.21</c:v>
                </c:pt>
                <c:pt idx="112">
                  <c:v>19.IV.21</c:v>
                </c:pt>
                <c:pt idx="113">
                  <c:v>20.IV.21</c:v>
                </c:pt>
                <c:pt idx="114">
                  <c:v>21.IV.21</c:v>
                </c:pt>
                <c:pt idx="115">
                  <c:v>22.IV.21</c:v>
                </c:pt>
                <c:pt idx="116">
                  <c:v>23.IV.21</c:v>
                </c:pt>
                <c:pt idx="117">
                  <c:v>24.IV.21</c:v>
                </c:pt>
                <c:pt idx="118">
                  <c:v>25.IV.21</c:v>
                </c:pt>
                <c:pt idx="119">
                  <c:v>26.IV.21</c:v>
                </c:pt>
                <c:pt idx="120">
                  <c:v>27.IV.21</c:v>
                </c:pt>
                <c:pt idx="121">
                  <c:v>28.IV.21</c:v>
                </c:pt>
                <c:pt idx="122">
                  <c:v>29.IV.21</c:v>
                </c:pt>
                <c:pt idx="123">
                  <c:v>30.IV.21</c:v>
                </c:pt>
                <c:pt idx="124">
                  <c:v>1.V.21</c:v>
                </c:pt>
                <c:pt idx="125">
                  <c:v>2.V.21</c:v>
                </c:pt>
                <c:pt idx="126">
                  <c:v>3.V.21</c:v>
                </c:pt>
                <c:pt idx="127">
                  <c:v>4.V.21</c:v>
                </c:pt>
                <c:pt idx="128">
                  <c:v>5.V.21</c:v>
                </c:pt>
                <c:pt idx="129">
                  <c:v>6.V.21</c:v>
                </c:pt>
                <c:pt idx="130">
                  <c:v>7.V.21</c:v>
                </c:pt>
                <c:pt idx="131">
                  <c:v>8.V.21</c:v>
                </c:pt>
                <c:pt idx="132">
                  <c:v>9.V.21</c:v>
                </c:pt>
                <c:pt idx="133">
                  <c:v>10.V.21</c:v>
                </c:pt>
                <c:pt idx="134">
                  <c:v>11.V.21</c:v>
                </c:pt>
                <c:pt idx="135">
                  <c:v>12.V.21</c:v>
                </c:pt>
                <c:pt idx="136">
                  <c:v>13.V.21</c:v>
                </c:pt>
                <c:pt idx="137">
                  <c:v>14.V.21</c:v>
                </c:pt>
                <c:pt idx="138">
                  <c:v>15.V.21</c:v>
                </c:pt>
                <c:pt idx="139">
                  <c:v>16.V.21</c:v>
                </c:pt>
                <c:pt idx="140">
                  <c:v>17.V.21</c:v>
                </c:pt>
                <c:pt idx="141">
                  <c:v>18.V.21</c:v>
                </c:pt>
                <c:pt idx="142">
                  <c:v>19.V.21</c:v>
                </c:pt>
                <c:pt idx="143">
                  <c:v>20.V.21</c:v>
                </c:pt>
                <c:pt idx="144">
                  <c:v>21.V.21</c:v>
                </c:pt>
                <c:pt idx="145">
                  <c:v>22.V.21</c:v>
                </c:pt>
                <c:pt idx="146">
                  <c:v>23.V.21</c:v>
                </c:pt>
                <c:pt idx="147">
                  <c:v>24.V.21</c:v>
                </c:pt>
                <c:pt idx="148">
                  <c:v>25.V.21</c:v>
                </c:pt>
                <c:pt idx="149">
                  <c:v>26.V.21</c:v>
                </c:pt>
                <c:pt idx="150">
                  <c:v>27.V.21</c:v>
                </c:pt>
                <c:pt idx="151">
                  <c:v>28.V.21</c:v>
                </c:pt>
                <c:pt idx="152">
                  <c:v>29.V.21</c:v>
                </c:pt>
                <c:pt idx="153">
                  <c:v>30.V.21</c:v>
                </c:pt>
                <c:pt idx="154">
                  <c:v>31.V.21</c:v>
                </c:pt>
                <c:pt idx="155">
                  <c:v>1.VI.21</c:v>
                </c:pt>
                <c:pt idx="156">
                  <c:v>2.VI.21</c:v>
                </c:pt>
                <c:pt idx="157">
                  <c:v>3.VI.21</c:v>
                </c:pt>
                <c:pt idx="158">
                  <c:v>4.VI.21</c:v>
                </c:pt>
                <c:pt idx="159">
                  <c:v>5.VI.21</c:v>
                </c:pt>
                <c:pt idx="160">
                  <c:v>6.VI.21</c:v>
                </c:pt>
                <c:pt idx="161">
                  <c:v>7.VI.21</c:v>
                </c:pt>
                <c:pt idx="162">
                  <c:v>8.VI.21</c:v>
                </c:pt>
                <c:pt idx="163">
                  <c:v>9.VI.21</c:v>
                </c:pt>
                <c:pt idx="164">
                  <c:v>10.VI.21</c:v>
                </c:pt>
                <c:pt idx="165">
                  <c:v>11.VI.21</c:v>
                </c:pt>
                <c:pt idx="166">
                  <c:v>12.VI.21</c:v>
                </c:pt>
                <c:pt idx="167">
                  <c:v>13.VI.21</c:v>
                </c:pt>
                <c:pt idx="168">
                  <c:v>14.VI.21</c:v>
                </c:pt>
                <c:pt idx="169">
                  <c:v>15.VI.21</c:v>
                </c:pt>
                <c:pt idx="170">
                  <c:v>16.VI.21</c:v>
                </c:pt>
                <c:pt idx="171">
                  <c:v>17.VI.21</c:v>
                </c:pt>
                <c:pt idx="172">
                  <c:v>18.VI.21</c:v>
                </c:pt>
                <c:pt idx="173">
                  <c:v>19.VI.21</c:v>
                </c:pt>
                <c:pt idx="174">
                  <c:v>20.VI.21</c:v>
                </c:pt>
                <c:pt idx="175">
                  <c:v>21.VI.21</c:v>
                </c:pt>
                <c:pt idx="176">
                  <c:v>22.VI.21</c:v>
                </c:pt>
                <c:pt idx="177">
                  <c:v>23.VI.21</c:v>
                </c:pt>
                <c:pt idx="178">
                  <c:v>24.VI.21</c:v>
                </c:pt>
                <c:pt idx="179">
                  <c:v>25.VI.21</c:v>
                </c:pt>
                <c:pt idx="180">
                  <c:v>26.VI.21</c:v>
                </c:pt>
                <c:pt idx="181">
                  <c:v>27.VI.21</c:v>
                </c:pt>
                <c:pt idx="182">
                  <c:v>28.VI.21</c:v>
                </c:pt>
                <c:pt idx="183">
                  <c:v>29.VI.21</c:v>
                </c:pt>
                <c:pt idx="184">
                  <c:v>30.VI.21</c:v>
                </c:pt>
                <c:pt idx="185">
                  <c:v>1.VII.21</c:v>
                </c:pt>
                <c:pt idx="186">
                  <c:v>2.VII.21</c:v>
                </c:pt>
                <c:pt idx="187">
                  <c:v>3.VII.21</c:v>
                </c:pt>
                <c:pt idx="188">
                  <c:v>4.VII.21</c:v>
                </c:pt>
                <c:pt idx="189">
                  <c:v>5.VII.21</c:v>
                </c:pt>
                <c:pt idx="190">
                  <c:v>6.VII.21</c:v>
                </c:pt>
                <c:pt idx="191">
                  <c:v>7.VII.21</c:v>
                </c:pt>
                <c:pt idx="192">
                  <c:v>8.VII.21</c:v>
                </c:pt>
                <c:pt idx="193">
                  <c:v>9.VII.21</c:v>
                </c:pt>
                <c:pt idx="194">
                  <c:v>10.VII.21</c:v>
                </c:pt>
                <c:pt idx="195">
                  <c:v>11.VII.21</c:v>
                </c:pt>
                <c:pt idx="196">
                  <c:v>12.VII.21</c:v>
                </c:pt>
                <c:pt idx="197">
                  <c:v>13.VII.21</c:v>
                </c:pt>
                <c:pt idx="198">
                  <c:v>14.VII.21</c:v>
                </c:pt>
                <c:pt idx="199">
                  <c:v>15.VII.21</c:v>
                </c:pt>
                <c:pt idx="200">
                  <c:v>16.VII.21</c:v>
                </c:pt>
                <c:pt idx="201">
                  <c:v>17.VII.21</c:v>
                </c:pt>
                <c:pt idx="202">
                  <c:v>18.VII.21</c:v>
                </c:pt>
                <c:pt idx="203">
                  <c:v>19.VII.21</c:v>
                </c:pt>
                <c:pt idx="204">
                  <c:v>20.VII.21</c:v>
                </c:pt>
                <c:pt idx="205">
                  <c:v>21.VII.21</c:v>
                </c:pt>
                <c:pt idx="206">
                  <c:v>22.VII.21</c:v>
                </c:pt>
                <c:pt idx="207">
                  <c:v>23.VII.21</c:v>
                </c:pt>
                <c:pt idx="208">
                  <c:v>24.VII.21</c:v>
                </c:pt>
                <c:pt idx="209">
                  <c:v>25.VII.21</c:v>
                </c:pt>
                <c:pt idx="210">
                  <c:v>26.VII.21</c:v>
                </c:pt>
                <c:pt idx="211">
                  <c:v>27.VII.21</c:v>
                </c:pt>
                <c:pt idx="212">
                  <c:v>28.VII.21</c:v>
                </c:pt>
                <c:pt idx="213">
                  <c:v>29.VII.21</c:v>
                </c:pt>
                <c:pt idx="214">
                  <c:v>30.VII.21</c:v>
                </c:pt>
                <c:pt idx="215">
                  <c:v>31.VII.21</c:v>
                </c:pt>
                <c:pt idx="216">
                  <c:v>1.VIII.21</c:v>
                </c:pt>
                <c:pt idx="217">
                  <c:v>2.VIII.21</c:v>
                </c:pt>
                <c:pt idx="218">
                  <c:v>3.VIII.21</c:v>
                </c:pt>
                <c:pt idx="219">
                  <c:v>4.VIII.21</c:v>
                </c:pt>
                <c:pt idx="220">
                  <c:v>5.VIII.21</c:v>
                </c:pt>
                <c:pt idx="221">
                  <c:v>6.VIII.21</c:v>
                </c:pt>
                <c:pt idx="222">
                  <c:v>7.VIII.21</c:v>
                </c:pt>
                <c:pt idx="223">
                  <c:v>8.VIII.21</c:v>
                </c:pt>
                <c:pt idx="224">
                  <c:v>9.VIII.21</c:v>
                </c:pt>
                <c:pt idx="225">
                  <c:v>10.VIII.21</c:v>
                </c:pt>
                <c:pt idx="226">
                  <c:v>11.VIII.21</c:v>
                </c:pt>
                <c:pt idx="227">
                  <c:v>12.VIII.21</c:v>
                </c:pt>
                <c:pt idx="228">
                  <c:v>13.VIII.21</c:v>
                </c:pt>
                <c:pt idx="229">
                  <c:v>14.VIII.21</c:v>
                </c:pt>
                <c:pt idx="230">
                  <c:v>15.VIII.21</c:v>
                </c:pt>
                <c:pt idx="231">
                  <c:v>16.VIII.21</c:v>
                </c:pt>
                <c:pt idx="232">
                  <c:v>17.VIII.21</c:v>
                </c:pt>
                <c:pt idx="233">
                  <c:v>18.VIII.21</c:v>
                </c:pt>
                <c:pt idx="234">
                  <c:v>19.VIII.21</c:v>
                </c:pt>
                <c:pt idx="235">
                  <c:v>20.VIII.21</c:v>
                </c:pt>
                <c:pt idx="236">
                  <c:v>21.VIII.21</c:v>
                </c:pt>
                <c:pt idx="237">
                  <c:v>22.VIII.21</c:v>
                </c:pt>
                <c:pt idx="238">
                  <c:v>23.VIII.21</c:v>
                </c:pt>
                <c:pt idx="239">
                  <c:v>24.VIII.21</c:v>
                </c:pt>
                <c:pt idx="240">
                  <c:v>25.VIII.21</c:v>
                </c:pt>
                <c:pt idx="241">
                  <c:v>26.VIII.21</c:v>
                </c:pt>
                <c:pt idx="242">
                  <c:v>27.VIII.21</c:v>
                </c:pt>
                <c:pt idx="243">
                  <c:v>28.VIII.21</c:v>
                </c:pt>
                <c:pt idx="244">
                  <c:v>29.VIII.21</c:v>
                </c:pt>
                <c:pt idx="245">
                  <c:v>30.VIII.21</c:v>
                </c:pt>
                <c:pt idx="246">
                  <c:v>31.VIII.21</c:v>
                </c:pt>
                <c:pt idx="247">
                  <c:v>1.IX.21</c:v>
                </c:pt>
                <c:pt idx="248">
                  <c:v>2.IX.21</c:v>
                </c:pt>
                <c:pt idx="249">
                  <c:v>3.IX.21</c:v>
                </c:pt>
                <c:pt idx="250">
                  <c:v>4.IX.21</c:v>
                </c:pt>
                <c:pt idx="251">
                  <c:v>5.IX.21</c:v>
                </c:pt>
                <c:pt idx="252">
                  <c:v>6.IX.21</c:v>
                </c:pt>
                <c:pt idx="253">
                  <c:v>7.IX.21</c:v>
                </c:pt>
                <c:pt idx="254">
                  <c:v>8.IX.21</c:v>
                </c:pt>
                <c:pt idx="255">
                  <c:v>9.IX.21</c:v>
                </c:pt>
                <c:pt idx="256">
                  <c:v>10.IX.21</c:v>
                </c:pt>
                <c:pt idx="257">
                  <c:v>11.IX.21</c:v>
                </c:pt>
                <c:pt idx="258">
                  <c:v>12.IX.21</c:v>
                </c:pt>
                <c:pt idx="259">
                  <c:v>13.IX.21</c:v>
                </c:pt>
                <c:pt idx="260">
                  <c:v>14.IX.21</c:v>
                </c:pt>
                <c:pt idx="261">
                  <c:v>15.IX.21</c:v>
                </c:pt>
                <c:pt idx="262">
                  <c:v>16.IX.21</c:v>
                </c:pt>
                <c:pt idx="263">
                  <c:v>17.IX.21</c:v>
                </c:pt>
                <c:pt idx="264">
                  <c:v>18.IX.21</c:v>
                </c:pt>
                <c:pt idx="265">
                  <c:v>19.IX.21</c:v>
                </c:pt>
                <c:pt idx="266">
                  <c:v>20.IX.21</c:v>
                </c:pt>
                <c:pt idx="267">
                  <c:v>21.IX.21</c:v>
                </c:pt>
                <c:pt idx="268">
                  <c:v>22.IX.21</c:v>
                </c:pt>
                <c:pt idx="269">
                  <c:v>23.IX.21</c:v>
                </c:pt>
                <c:pt idx="270">
                  <c:v>24.IX.21</c:v>
                </c:pt>
                <c:pt idx="271">
                  <c:v>25.IX.21</c:v>
                </c:pt>
                <c:pt idx="272">
                  <c:v>26.IX.21</c:v>
                </c:pt>
                <c:pt idx="273">
                  <c:v>27.IX.21</c:v>
                </c:pt>
                <c:pt idx="274">
                  <c:v>28.IX.21</c:v>
                </c:pt>
                <c:pt idx="275">
                  <c:v>29.IX.21</c:v>
                </c:pt>
                <c:pt idx="276">
                  <c:v>30.IX.21</c:v>
                </c:pt>
                <c:pt idx="277">
                  <c:v>1.X.21</c:v>
                </c:pt>
                <c:pt idx="278">
                  <c:v>2.X.21</c:v>
                </c:pt>
                <c:pt idx="279">
                  <c:v>3.X.21</c:v>
                </c:pt>
                <c:pt idx="280">
                  <c:v>4.X.21</c:v>
                </c:pt>
                <c:pt idx="281">
                  <c:v>5.X.21</c:v>
                </c:pt>
                <c:pt idx="282">
                  <c:v>6.X.21</c:v>
                </c:pt>
                <c:pt idx="283">
                  <c:v>7.X.21</c:v>
                </c:pt>
                <c:pt idx="284">
                  <c:v>8.X.21</c:v>
                </c:pt>
                <c:pt idx="285">
                  <c:v>9.X.21</c:v>
                </c:pt>
                <c:pt idx="286">
                  <c:v>10.X.21</c:v>
                </c:pt>
                <c:pt idx="287">
                  <c:v>11.X.21</c:v>
                </c:pt>
                <c:pt idx="288">
                  <c:v>12.X.21</c:v>
                </c:pt>
                <c:pt idx="289">
                  <c:v>13.X.21</c:v>
                </c:pt>
                <c:pt idx="290">
                  <c:v>14.X.21</c:v>
                </c:pt>
                <c:pt idx="291">
                  <c:v>15.X.21</c:v>
                </c:pt>
                <c:pt idx="292">
                  <c:v>16.X.21</c:v>
                </c:pt>
                <c:pt idx="293">
                  <c:v>17.X.21</c:v>
                </c:pt>
                <c:pt idx="294">
                  <c:v>18.X.21</c:v>
                </c:pt>
                <c:pt idx="295">
                  <c:v>19.X.21</c:v>
                </c:pt>
                <c:pt idx="296">
                  <c:v>20.X.21</c:v>
                </c:pt>
                <c:pt idx="297">
                  <c:v>21.X.21</c:v>
                </c:pt>
                <c:pt idx="298">
                  <c:v>22.X.21</c:v>
                </c:pt>
                <c:pt idx="299">
                  <c:v>23.X.21</c:v>
                </c:pt>
                <c:pt idx="300">
                  <c:v>24.X.21</c:v>
                </c:pt>
                <c:pt idx="301">
                  <c:v>25.X.21</c:v>
                </c:pt>
                <c:pt idx="302">
                  <c:v>26.X.21</c:v>
                </c:pt>
                <c:pt idx="303">
                  <c:v>27.X.21</c:v>
                </c:pt>
                <c:pt idx="304">
                  <c:v>28.X.21</c:v>
                </c:pt>
                <c:pt idx="305">
                  <c:v>29.X.21</c:v>
                </c:pt>
                <c:pt idx="306">
                  <c:v>30.X.21</c:v>
                </c:pt>
                <c:pt idx="307">
                  <c:v>31.X.21</c:v>
                </c:pt>
                <c:pt idx="308">
                  <c:v>1.XI.21</c:v>
                </c:pt>
                <c:pt idx="309">
                  <c:v>2.XI.21</c:v>
                </c:pt>
                <c:pt idx="310">
                  <c:v>3.XI.21</c:v>
                </c:pt>
                <c:pt idx="311">
                  <c:v>4.XI.21</c:v>
                </c:pt>
                <c:pt idx="312">
                  <c:v>5.XI.21</c:v>
                </c:pt>
                <c:pt idx="313">
                  <c:v>6.XI.21</c:v>
                </c:pt>
                <c:pt idx="314">
                  <c:v>7.XI.21</c:v>
                </c:pt>
                <c:pt idx="315">
                  <c:v>8.XI.21</c:v>
                </c:pt>
                <c:pt idx="316">
                  <c:v>9.XI.21</c:v>
                </c:pt>
                <c:pt idx="317">
                  <c:v>10.XI.21</c:v>
                </c:pt>
                <c:pt idx="318">
                  <c:v>11.XI.21</c:v>
                </c:pt>
                <c:pt idx="319">
                  <c:v>12.XI.21</c:v>
                </c:pt>
                <c:pt idx="320">
                  <c:v>13.XI.21</c:v>
                </c:pt>
                <c:pt idx="321">
                  <c:v>14.XI.21</c:v>
                </c:pt>
                <c:pt idx="322">
                  <c:v>15.XI.21</c:v>
                </c:pt>
                <c:pt idx="323">
                  <c:v>16.XI.21</c:v>
                </c:pt>
                <c:pt idx="324">
                  <c:v>17.XI.21</c:v>
                </c:pt>
                <c:pt idx="325">
                  <c:v>18.XI.21</c:v>
                </c:pt>
                <c:pt idx="326">
                  <c:v>19.XI.21</c:v>
                </c:pt>
                <c:pt idx="327">
                  <c:v>20.XI.21</c:v>
                </c:pt>
                <c:pt idx="328">
                  <c:v>21.XI.21</c:v>
                </c:pt>
                <c:pt idx="329">
                  <c:v>22.XI.21</c:v>
                </c:pt>
                <c:pt idx="330">
                  <c:v>23.XI.21</c:v>
                </c:pt>
                <c:pt idx="331">
                  <c:v>24.XI.21</c:v>
                </c:pt>
                <c:pt idx="332">
                  <c:v>25.XI.21</c:v>
                </c:pt>
                <c:pt idx="333">
                  <c:v>26.XI.21</c:v>
                </c:pt>
                <c:pt idx="334">
                  <c:v>27.XI.21</c:v>
                </c:pt>
                <c:pt idx="335">
                  <c:v>28.XI.21</c:v>
                </c:pt>
                <c:pt idx="336">
                  <c:v>29.XI.21</c:v>
                </c:pt>
                <c:pt idx="337">
                  <c:v>30.XI.21</c:v>
                </c:pt>
                <c:pt idx="338">
                  <c:v>1.XII.21</c:v>
                </c:pt>
                <c:pt idx="339">
                  <c:v>2.XII.21</c:v>
                </c:pt>
                <c:pt idx="340">
                  <c:v>3.XII.21</c:v>
                </c:pt>
                <c:pt idx="341">
                  <c:v>4.XII.21</c:v>
                </c:pt>
                <c:pt idx="342">
                  <c:v>5.XII.21</c:v>
                </c:pt>
                <c:pt idx="343">
                  <c:v>6.XII.21</c:v>
                </c:pt>
                <c:pt idx="344">
                  <c:v>7.XII.21</c:v>
                </c:pt>
                <c:pt idx="345">
                  <c:v>8.XII.21</c:v>
                </c:pt>
                <c:pt idx="346">
                  <c:v>9.XII.21</c:v>
                </c:pt>
                <c:pt idx="347">
                  <c:v>10.XII.21</c:v>
                </c:pt>
                <c:pt idx="348">
                  <c:v>11.XII.21</c:v>
                </c:pt>
                <c:pt idx="349">
                  <c:v>12.XII.21</c:v>
                </c:pt>
                <c:pt idx="350">
                  <c:v>13.XII.21</c:v>
                </c:pt>
                <c:pt idx="351">
                  <c:v>14.XII.21</c:v>
                </c:pt>
                <c:pt idx="352">
                  <c:v>15.XII.21</c:v>
                </c:pt>
                <c:pt idx="353">
                  <c:v>16.XII.21</c:v>
                </c:pt>
                <c:pt idx="354">
                  <c:v>17.XII.21</c:v>
                </c:pt>
                <c:pt idx="355">
                  <c:v>18.XII.21</c:v>
                </c:pt>
                <c:pt idx="356">
                  <c:v>19.XII.21</c:v>
                </c:pt>
                <c:pt idx="357">
                  <c:v>20.XII.21</c:v>
                </c:pt>
                <c:pt idx="358">
                  <c:v>21.XII.21</c:v>
                </c:pt>
                <c:pt idx="359">
                  <c:v>22.XII.21</c:v>
                </c:pt>
                <c:pt idx="360">
                  <c:v>23.XII.21</c:v>
                </c:pt>
                <c:pt idx="361">
                  <c:v>27.XII.21</c:v>
                </c:pt>
                <c:pt idx="362">
                  <c:v>28.XII.21</c:v>
                </c:pt>
                <c:pt idx="363">
                  <c:v>29.XII.21</c:v>
                </c:pt>
                <c:pt idx="364">
                  <c:v>30.XII.21</c:v>
                </c:pt>
                <c:pt idx="365">
                  <c:v>31.XII.21</c:v>
                </c:pt>
                <c:pt idx="366">
                  <c:v>2.I.22</c:v>
                </c:pt>
                <c:pt idx="367">
                  <c:v>3.I.22</c:v>
                </c:pt>
                <c:pt idx="368">
                  <c:v>4.I.22</c:v>
                </c:pt>
                <c:pt idx="369">
                  <c:v>5.I.22</c:v>
                </c:pt>
                <c:pt idx="370">
                  <c:v>6.I.22</c:v>
                </c:pt>
                <c:pt idx="371">
                  <c:v>7.I.22</c:v>
                </c:pt>
                <c:pt idx="372">
                  <c:v>8.I.22</c:v>
                </c:pt>
                <c:pt idx="373">
                  <c:v>9.I.22</c:v>
                </c:pt>
                <c:pt idx="374">
                  <c:v>10.I.22</c:v>
                </c:pt>
                <c:pt idx="375">
                  <c:v>11.I.22</c:v>
                </c:pt>
                <c:pt idx="376">
                  <c:v>12.I.22</c:v>
                </c:pt>
                <c:pt idx="377">
                  <c:v>13.I.22</c:v>
                </c:pt>
                <c:pt idx="378">
                  <c:v>14.I.22</c:v>
                </c:pt>
                <c:pt idx="379">
                  <c:v>15.I.22</c:v>
                </c:pt>
                <c:pt idx="380">
                  <c:v>16.I.22</c:v>
                </c:pt>
                <c:pt idx="381">
                  <c:v>17.I.22</c:v>
                </c:pt>
                <c:pt idx="382">
                  <c:v>18.I.22</c:v>
                </c:pt>
                <c:pt idx="383">
                  <c:v>19.I.22</c:v>
                </c:pt>
                <c:pt idx="384">
                  <c:v>20.I.22</c:v>
                </c:pt>
                <c:pt idx="385">
                  <c:v>21.I.22</c:v>
                </c:pt>
                <c:pt idx="386">
                  <c:v>22.I.22</c:v>
                </c:pt>
                <c:pt idx="387">
                  <c:v>23.I.22</c:v>
                </c:pt>
                <c:pt idx="388">
                  <c:v>24.I.22</c:v>
                </c:pt>
                <c:pt idx="389">
                  <c:v>25.I.22</c:v>
                </c:pt>
                <c:pt idx="390">
                  <c:v>26.I.22</c:v>
                </c:pt>
                <c:pt idx="391">
                  <c:v>27.I.22</c:v>
                </c:pt>
                <c:pt idx="392">
                  <c:v>28.I.22</c:v>
                </c:pt>
              </c:strCache>
            </c:strRef>
          </c:cat>
          <c:val>
            <c:numRef>
              <c:f>List1!$J$2:$OL$2</c:f>
              <c:numCache>
                <c:formatCode>General</c:formatCode>
                <c:ptCount val="393"/>
                <c:pt idx="0">
                  <c:v>2942</c:v>
                </c:pt>
                <c:pt idx="1">
                  <c:v>5609</c:v>
                </c:pt>
                <c:pt idx="2">
                  <c:v>8314</c:v>
                </c:pt>
                <c:pt idx="3">
                  <c:v>9206</c:v>
                </c:pt>
                <c:pt idx="4">
                  <c:v>9443</c:v>
                </c:pt>
                <c:pt idx="5">
                  <c:v>10604</c:v>
                </c:pt>
                <c:pt idx="6">
                  <c:v>11446</c:v>
                </c:pt>
                <c:pt idx="7">
                  <c:v>14615</c:v>
                </c:pt>
                <c:pt idx="8">
                  <c:v>18532</c:v>
                </c:pt>
                <c:pt idx="9">
                  <c:v>23460</c:v>
                </c:pt>
                <c:pt idx="10">
                  <c:v>29292</c:v>
                </c:pt>
                <c:pt idx="11">
                  <c:v>36080</c:v>
                </c:pt>
                <c:pt idx="12">
                  <c:v>37243</c:v>
                </c:pt>
                <c:pt idx="13">
                  <c:v>38201</c:v>
                </c:pt>
                <c:pt idx="14">
                  <c:v>44616</c:v>
                </c:pt>
                <c:pt idx="15">
                  <c:v>52037</c:v>
                </c:pt>
                <c:pt idx="16">
                  <c:v>58647</c:v>
                </c:pt>
                <c:pt idx="17">
                  <c:v>65630</c:v>
                </c:pt>
                <c:pt idx="18">
                  <c:v>71827</c:v>
                </c:pt>
                <c:pt idx="19">
                  <c:v>72763</c:v>
                </c:pt>
                <c:pt idx="20">
                  <c:v>73311</c:v>
                </c:pt>
                <c:pt idx="21">
                  <c:v>78000</c:v>
                </c:pt>
                <c:pt idx="22">
                  <c:v>81801</c:v>
                </c:pt>
                <c:pt idx="23">
                  <c:v>85520</c:v>
                </c:pt>
                <c:pt idx="24">
                  <c:v>88913</c:v>
                </c:pt>
                <c:pt idx="25">
                  <c:v>91804</c:v>
                </c:pt>
                <c:pt idx="26">
                  <c:v>92194</c:v>
                </c:pt>
                <c:pt idx="27">
                  <c:v>92430</c:v>
                </c:pt>
                <c:pt idx="28">
                  <c:v>94037</c:v>
                </c:pt>
                <c:pt idx="29">
                  <c:v>95803</c:v>
                </c:pt>
                <c:pt idx="30">
                  <c:v>97253</c:v>
                </c:pt>
                <c:pt idx="31">
                  <c:v>98642</c:v>
                </c:pt>
                <c:pt idx="32">
                  <c:v>99922</c:v>
                </c:pt>
                <c:pt idx="33">
                  <c:v>99993</c:v>
                </c:pt>
                <c:pt idx="34">
                  <c:v>100064</c:v>
                </c:pt>
                <c:pt idx="35">
                  <c:v>100958</c:v>
                </c:pt>
                <c:pt idx="36">
                  <c:v>101826</c:v>
                </c:pt>
                <c:pt idx="37">
                  <c:v>102643</c:v>
                </c:pt>
                <c:pt idx="38">
                  <c:v>103352</c:v>
                </c:pt>
                <c:pt idx="39">
                  <c:v>104281</c:v>
                </c:pt>
                <c:pt idx="40">
                  <c:v>104332</c:v>
                </c:pt>
                <c:pt idx="41">
                  <c:v>104383</c:v>
                </c:pt>
                <c:pt idx="42">
                  <c:v>105025</c:v>
                </c:pt>
                <c:pt idx="43">
                  <c:v>105680</c:v>
                </c:pt>
                <c:pt idx="44">
                  <c:v>106545</c:v>
                </c:pt>
                <c:pt idx="45">
                  <c:v>107600</c:v>
                </c:pt>
                <c:pt idx="46">
                  <c:v>108802</c:v>
                </c:pt>
                <c:pt idx="47">
                  <c:v>109187</c:v>
                </c:pt>
                <c:pt idx="48">
                  <c:v>109371</c:v>
                </c:pt>
                <c:pt idx="49">
                  <c:v>110694</c:v>
                </c:pt>
                <c:pt idx="50">
                  <c:v>111986</c:v>
                </c:pt>
                <c:pt idx="51">
                  <c:v>113361</c:v>
                </c:pt>
                <c:pt idx="52">
                  <c:v>114926</c:v>
                </c:pt>
                <c:pt idx="53">
                  <c:v>116783</c:v>
                </c:pt>
                <c:pt idx="54">
                  <c:v>117243</c:v>
                </c:pt>
                <c:pt idx="55">
                  <c:v>117406</c:v>
                </c:pt>
                <c:pt idx="56">
                  <c:v>118999</c:v>
                </c:pt>
                <c:pt idx="57">
                  <c:v>121297</c:v>
                </c:pt>
                <c:pt idx="58">
                  <c:v>123797</c:v>
                </c:pt>
                <c:pt idx="59">
                  <c:v>126829</c:v>
                </c:pt>
                <c:pt idx="60">
                  <c:v>129436</c:v>
                </c:pt>
                <c:pt idx="61">
                  <c:v>129744</c:v>
                </c:pt>
                <c:pt idx="62">
                  <c:v>129965</c:v>
                </c:pt>
                <c:pt idx="63">
                  <c:v>132513</c:v>
                </c:pt>
                <c:pt idx="64">
                  <c:v>135271</c:v>
                </c:pt>
                <c:pt idx="65">
                  <c:v>137938</c:v>
                </c:pt>
                <c:pt idx="66">
                  <c:v>140393</c:v>
                </c:pt>
                <c:pt idx="67">
                  <c:v>143361</c:v>
                </c:pt>
                <c:pt idx="68">
                  <c:v>144068</c:v>
                </c:pt>
                <c:pt idx="69">
                  <c:v>144583</c:v>
                </c:pt>
                <c:pt idx="70">
                  <c:v>146530</c:v>
                </c:pt>
                <c:pt idx="71">
                  <c:v>148678</c:v>
                </c:pt>
                <c:pt idx="72">
                  <c:v>150927</c:v>
                </c:pt>
                <c:pt idx="73">
                  <c:v>153931</c:v>
                </c:pt>
                <c:pt idx="74">
                  <c:v>156553</c:v>
                </c:pt>
                <c:pt idx="75">
                  <c:v>157212</c:v>
                </c:pt>
                <c:pt idx="76">
                  <c:v>157781</c:v>
                </c:pt>
                <c:pt idx="77">
                  <c:v>159371</c:v>
                </c:pt>
                <c:pt idx="78">
                  <c:v>161703</c:v>
                </c:pt>
                <c:pt idx="79">
                  <c:v>164020</c:v>
                </c:pt>
                <c:pt idx="80">
                  <c:v>166047</c:v>
                </c:pt>
                <c:pt idx="81">
                  <c:v>168310</c:v>
                </c:pt>
                <c:pt idx="82">
                  <c:v>169185</c:v>
                </c:pt>
                <c:pt idx="83">
                  <c:v>169633</c:v>
                </c:pt>
                <c:pt idx="84">
                  <c:v>170789</c:v>
                </c:pt>
                <c:pt idx="85">
                  <c:v>172028</c:v>
                </c:pt>
                <c:pt idx="86">
                  <c:v>173098</c:v>
                </c:pt>
                <c:pt idx="87">
                  <c:v>174397</c:v>
                </c:pt>
                <c:pt idx="88">
                  <c:v>175775</c:v>
                </c:pt>
                <c:pt idx="89">
                  <c:v>176150</c:v>
                </c:pt>
                <c:pt idx="90">
                  <c:v>176495</c:v>
                </c:pt>
                <c:pt idx="91">
                  <c:v>177278</c:v>
                </c:pt>
                <c:pt idx="92">
                  <c:v>178306</c:v>
                </c:pt>
                <c:pt idx="93">
                  <c:v>179428</c:v>
                </c:pt>
                <c:pt idx="94">
                  <c:v>180532</c:v>
                </c:pt>
                <c:pt idx="95">
                  <c:v>180800</c:v>
                </c:pt>
                <c:pt idx="96">
                  <c:v>180920</c:v>
                </c:pt>
                <c:pt idx="97">
                  <c:v>181036</c:v>
                </c:pt>
                <c:pt idx="98">
                  <c:v>181108</c:v>
                </c:pt>
                <c:pt idx="99">
                  <c:v>181674</c:v>
                </c:pt>
                <c:pt idx="100">
                  <c:v>182349</c:v>
                </c:pt>
                <c:pt idx="101">
                  <c:v>183597</c:v>
                </c:pt>
                <c:pt idx="102">
                  <c:v>184874</c:v>
                </c:pt>
                <c:pt idx="103">
                  <c:v>185251</c:v>
                </c:pt>
                <c:pt idx="104">
                  <c:v>185501</c:v>
                </c:pt>
                <c:pt idx="105">
                  <c:v>186443</c:v>
                </c:pt>
                <c:pt idx="106">
                  <c:v>187257</c:v>
                </c:pt>
                <c:pt idx="107">
                  <c:v>188202</c:v>
                </c:pt>
                <c:pt idx="108">
                  <c:v>189570</c:v>
                </c:pt>
                <c:pt idx="109">
                  <c:v>191120</c:v>
                </c:pt>
                <c:pt idx="110">
                  <c:v>191542</c:v>
                </c:pt>
                <c:pt idx="111">
                  <c:v>191982</c:v>
                </c:pt>
                <c:pt idx="112">
                  <c:v>193088</c:v>
                </c:pt>
                <c:pt idx="113">
                  <c:v>194137</c:v>
                </c:pt>
                <c:pt idx="114">
                  <c:v>195430</c:v>
                </c:pt>
                <c:pt idx="115">
                  <c:v>196903</c:v>
                </c:pt>
                <c:pt idx="116">
                  <c:v>198419</c:v>
                </c:pt>
                <c:pt idx="117">
                  <c:v>198860</c:v>
                </c:pt>
                <c:pt idx="118">
                  <c:v>199234</c:v>
                </c:pt>
                <c:pt idx="119">
                  <c:v>200436</c:v>
                </c:pt>
                <c:pt idx="120">
                  <c:v>201528</c:v>
                </c:pt>
                <c:pt idx="121">
                  <c:v>202920</c:v>
                </c:pt>
                <c:pt idx="122">
                  <c:v>204396</c:v>
                </c:pt>
                <c:pt idx="123">
                  <c:v>205801</c:v>
                </c:pt>
                <c:pt idx="124">
                  <c:v>206138</c:v>
                </c:pt>
                <c:pt idx="125">
                  <c:v>206476</c:v>
                </c:pt>
                <c:pt idx="126">
                  <c:v>207562</c:v>
                </c:pt>
                <c:pt idx="127">
                  <c:v>208668</c:v>
                </c:pt>
                <c:pt idx="128">
                  <c:v>209817</c:v>
                </c:pt>
                <c:pt idx="129">
                  <c:v>211014</c:v>
                </c:pt>
                <c:pt idx="130">
                  <c:v>212322</c:v>
                </c:pt>
                <c:pt idx="131">
                  <c:v>212825</c:v>
                </c:pt>
                <c:pt idx="132">
                  <c:v>213135</c:v>
                </c:pt>
                <c:pt idx="133">
                  <c:v>214110</c:v>
                </c:pt>
                <c:pt idx="134">
                  <c:v>215138</c:v>
                </c:pt>
                <c:pt idx="135">
                  <c:v>216178</c:v>
                </c:pt>
                <c:pt idx="136">
                  <c:v>217322</c:v>
                </c:pt>
                <c:pt idx="137">
                  <c:v>218328</c:v>
                </c:pt>
                <c:pt idx="138">
                  <c:v>218771</c:v>
                </c:pt>
                <c:pt idx="139">
                  <c:v>219059</c:v>
                </c:pt>
                <c:pt idx="140">
                  <c:v>219848</c:v>
                </c:pt>
                <c:pt idx="141">
                  <c:v>220731</c:v>
                </c:pt>
                <c:pt idx="142">
                  <c:v>221641</c:v>
                </c:pt>
                <c:pt idx="143">
                  <c:v>222579</c:v>
                </c:pt>
                <c:pt idx="144">
                  <c:v>223508</c:v>
                </c:pt>
                <c:pt idx="145">
                  <c:v>223862</c:v>
                </c:pt>
                <c:pt idx="146">
                  <c:v>224091</c:v>
                </c:pt>
                <c:pt idx="147">
                  <c:v>224644</c:v>
                </c:pt>
                <c:pt idx="148">
                  <c:v>225273</c:v>
                </c:pt>
                <c:pt idx="149">
                  <c:v>226129</c:v>
                </c:pt>
                <c:pt idx="150">
                  <c:v>226915</c:v>
                </c:pt>
                <c:pt idx="151">
                  <c:v>227743</c:v>
                </c:pt>
                <c:pt idx="152">
                  <c:v>228111</c:v>
                </c:pt>
                <c:pt idx="153">
                  <c:v>228403</c:v>
                </c:pt>
                <c:pt idx="154">
                  <c:v>229097</c:v>
                </c:pt>
                <c:pt idx="155">
                  <c:v>229821</c:v>
                </c:pt>
                <c:pt idx="156">
                  <c:v>230711</c:v>
                </c:pt>
                <c:pt idx="157">
                  <c:v>231552</c:v>
                </c:pt>
                <c:pt idx="158">
                  <c:v>232442</c:v>
                </c:pt>
                <c:pt idx="159">
                  <c:v>232868</c:v>
                </c:pt>
                <c:pt idx="160">
                  <c:v>233276</c:v>
                </c:pt>
                <c:pt idx="161">
                  <c:v>234173</c:v>
                </c:pt>
                <c:pt idx="162">
                  <c:v>235159</c:v>
                </c:pt>
                <c:pt idx="163">
                  <c:v>236085</c:v>
                </c:pt>
                <c:pt idx="164">
                  <c:v>236965</c:v>
                </c:pt>
                <c:pt idx="165">
                  <c:v>237824</c:v>
                </c:pt>
                <c:pt idx="166">
                  <c:v>238352</c:v>
                </c:pt>
                <c:pt idx="167">
                  <c:v>238727</c:v>
                </c:pt>
                <c:pt idx="168">
                  <c:v>239398</c:v>
                </c:pt>
                <c:pt idx="169">
                  <c:v>240163</c:v>
                </c:pt>
                <c:pt idx="170">
                  <c:v>240869</c:v>
                </c:pt>
                <c:pt idx="171">
                  <c:v>241588</c:v>
                </c:pt>
                <c:pt idx="172">
                  <c:v>242265</c:v>
                </c:pt>
                <c:pt idx="173">
                  <c:v>242601</c:v>
                </c:pt>
                <c:pt idx="174">
                  <c:v>242862</c:v>
                </c:pt>
                <c:pt idx="175">
                  <c:v>243377</c:v>
                </c:pt>
                <c:pt idx="176">
                  <c:v>243967</c:v>
                </c:pt>
                <c:pt idx="177">
                  <c:v>244468</c:v>
                </c:pt>
                <c:pt idx="178">
                  <c:v>244971</c:v>
                </c:pt>
                <c:pt idx="179">
                  <c:v>245474</c:v>
                </c:pt>
                <c:pt idx="180">
                  <c:v>245731</c:v>
                </c:pt>
                <c:pt idx="181">
                  <c:v>245924</c:v>
                </c:pt>
                <c:pt idx="182">
                  <c:v>246422</c:v>
                </c:pt>
                <c:pt idx="183">
                  <c:v>246885</c:v>
                </c:pt>
                <c:pt idx="184">
                  <c:v>247368</c:v>
                </c:pt>
                <c:pt idx="185">
                  <c:v>247733</c:v>
                </c:pt>
                <c:pt idx="186">
                  <c:v>248219</c:v>
                </c:pt>
                <c:pt idx="187">
                  <c:v>248317</c:v>
                </c:pt>
                <c:pt idx="188">
                  <c:v>248434</c:v>
                </c:pt>
                <c:pt idx="189">
                  <c:v>248547</c:v>
                </c:pt>
                <c:pt idx="190">
                  <c:v>248648</c:v>
                </c:pt>
                <c:pt idx="191">
                  <c:v>249061</c:v>
                </c:pt>
                <c:pt idx="192">
                  <c:v>249512</c:v>
                </c:pt>
                <c:pt idx="193">
                  <c:v>249958</c:v>
                </c:pt>
                <c:pt idx="194">
                  <c:v>250126</c:v>
                </c:pt>
                <c:pt idx="195">
                  <c:v>250247</c:v>
                </c:pt>
                <c:pt idx="196">
                  <c:v>250693</c:v>
                </c:pt>
                <c:pt idx="197">
                  <c:v>251141</c:v>
                </c:pt>
                <c:pt idx="198">
                  <c:v>251631</c:v>
                </c:pt>
                <c:pt idx="199">
                  <c:v>252130</c:v>
                </c:pt>
                <c:pt idx="200">
                  <c:v>252620</c:v>
                </c:pt>
                <c:pt idx="201">
                  <c:v>252802</c:v>
                </c:pt>
                <c:pt idx="202">
                  <c:v>252949</c:v>
                </c:pt>
                <c:pt idx="203">
                  <c:v>253372</c:v>
                </c:pt>
                <c:pt idx="204">
                  <c:v>253728</c:v>
                </c:pt>
                <c:pt idx="205">
                  <c:v>254198</c:v>
                </c:pt>
                <c:pt idx="206">
                  <c:v>254595</c:v>
                </c:pt>
                <c:pt idx="207">
                  <c:v>254988</c:v>
                </c:pt>
                <c:pt idx="208">
                  <c:v>255100</c:v>
                </c:pt>
                <c:pt idx="209">
                  <c:v>255190</c:v>
                </c:pt>
                <c:pt idx="210">
                  <c:v>255579</c:v>
                </c:pt>
                <c:pt idx="211">
                  <c:v>256001</c:v>
                </c:pt>
                <c:pt idx="212">
                  <c:v>256364</c:v>
                </c:pt>
                <c:pt idx="213">
                  <c:v>256701</c:v>
                </c:pt>
                <c:pt idx="214">
                  <c:v>257123</c:v>
                </c:pt>
                <c:pt idx="215">
                  <c:v>257245</c:v>
                </c:pt>
                <c:pt idx="216">
                  <c:v>257348</c:v>
                </c:pt>
                <c:pt idx="217">
                  <c:v>257631</c:v>
                </c:pt>
                <c:pt idx="218">
                  <c:v>257899</c:v>
                </c:pt>
                <c:pt idx="219">
                  <c:v>258213</c:v>
                </c:pt>
                <c:pt idx="220">
                  <c:v>258480</c:v>
                </c:pt>
                <c:pt idx="221">
                  <c:v>258761</c:v>
                </c:pt>
                <c:pt idx="222">
                  <c:v>258834</c:v>
                </c:pt>
                <c:pt idx="223">
                  <c:v>258898</c:v>
                </c:pt>
                <c:pt idx="224">
                  <c:v>259109</c:v>
                </c:pt>
                <c:pt idx="225">
                  <c:v>259319</c:v>
                </c:pt>
                <c:pt idx="226">
                  <c:v>259482</c:v>
                </c:pt>
                <c:pt idx="227">
                  <c:v>259716</c:v>
                </c:pt>
                <c:pt idx="228">
                  <c:v>259908</c:v>
                </c:pt>
                <c:pt idx="229">
                  <c:v>259965</c:v>
                </c:pt>
                <c:pt idx="230">
                  <c:v>260011</c:v>
                </c:pt>
                <c:pt idx="231">
                  <c:v>260193</c:v>
                </c:pt>
                <c:pt idx="232">
                  <c:v>260375</c:v>
                </c:pt>
                <c:pt idx="233">
                  <c:v>260543</c:v>
                </c:pt>
                <c:pt idx="234">
                  <c:v>260707</c:v>
                </c:pt>
                <c:pt idx="235">
                  <c:v>260953</c:v>
                </c:pt>
                <c:pt idx="236">
                  <c:v>260995</c:v>
                </c:pt>
                <c:pt idx="237">
                  <c:v>261028</c:v>
                </c:pt>
                <c:pt idx="238">
                  <c:v>261230</c:v>
                </c:pt>
                <c:pt idx="239">
                  <c:v>261421</c:v>
                </c:pt>
                <c:pt idx="240">
                  <c:v>261589</c:v>
                </c:pt>
                <c:pt idx="241">
                  <c:v>261751</c:v>
                </c:pt>
                <c:pt idx="242">
                  <c:v>261970</c:v>
                </c:pt>
                <c:pt idx="243">
                  <c:v>262014</c:v>
                </c:pt>
                <c:pt idx="244">
                  <c:v>262047</c:v>
                </c:pt>
                <c:pt idx="245">
                  <c:v>262220</c:v>
                </c:pt>
                <c:pt idx="246">
                  <c:v>262385</c:v>
                </c:pt>
                <c:pt idx="247">
                  <c:v>262510</c:v>
                </c:pt>
                <c:pt idx="248">
                  <c:v>262684</c:v>
                </c:pt>
                <c:pt idx="249">
                  <c:v>262879</c:v>
                </c:pt>
                <c:pt idx="250">
                  <c:v>262914</c:v>
                </c:pt>
                <c:pt idx="251">
                  <c:v>262947</c:v>
                </c:pt>
                <c:pt idx="252">
                  <c:v>263083</c:v>
                </c:pt>
                <c:pt idx="253">
                  <c:v>263173</c:v>
                </c:pt>
                <c:pt idx="254">
                  <c:v>263297</c:v>
                </c:pt>
                <c:pt idx="255">
                  <c:v>263440</c:v>
                </c:pt>
                <c:pt idx="256">
                  <c:v>263586</c:v>
                </c:pt>
                <c:pt idx="257">
                  <c:v>263621</c:v>
                </c:pt>
                <c:pt idx="258">
                  <c:v>263644</c:v>
                </c:pt>
                <c:pt idx="259">
                  <c:v>263755</c:v>
                </c:pt>
                <c:pt idx="260">
                  <c:v>263886</c:v>
                </c:pt>
                <c:pt idx="261">
                  <c:v>263992</c:v>
                </c:pt>
                <c:pt idx="262">
                  <c:v>264113</c:v>
                </c:pt>
                <c:pt idx="263">
                  <c:v>264277</c:v>
                </c:pt>
                <c:pt idx="264">
                  <c:v>264318</c:v>
                </c:pt>
                <c:pt idx="265">
                  <c:v>264331</c:v>
                </c:pt>
                <c:pt idx="266">
                  <c:v>264433</c:v>
                </c:pt>
                <c:pt idx="267">
                  <c:v>264537</c:v>
                </c:pt>
                <c:pt idx="268">
                  <c:v>264634</c:v>
                </c:pt>
                <c:pt idx="269">
                  <c:v>264769</c:v>
                </c:pt>
                <c:pt idx="270">
                  <c:v>264935</c:v>
                </c:pt>
                <c:pt idx="271">
                  <c:v>264967</c:v>
                </c:pt>
                <c:pt idx="272">
                  <c:v>264977</c:v>
                </c:pt>
                <c:pt idx="273">
                  <c:v>265074</c:v>
                </c:pt>
                <c:pt idx="274">
                  <c:v>265082</c:v>
                </c:pt>
                <c:pt idx="275">
                  <c:v>265167</c:v>
                </c:pt>
                <c:pt idx="276">
                  <c:v>265267</c:v>
                </c:pt>
                <c:pt idx="277">
                  <c:v>265359</c:v>
                </c:pt>
                <c:pt idx="278">
                  <c:v>265380</c:v>
                </c:pt>
                <c:pt idx="279">
                  <c:v>265394</c:v>
                </c:pt>
                <c:pt idx="280">
                  <c:v>265462</c:v>
                </c:pt>
                <c:pt idx="281">
                  <c:v>265545</c:v>
                </c:pt>
                <c:pt idx="282">
                  <c:v>265644</c:v>
                </c:pt>
                <c:pt idx="283">
                  <c:v>265714</c:v>
                </c:pt>
                <c:pt idx="284">
                  <c:v>265826</c:v>
                </c:pt>
                <c:pt idx="285">
                  <c:v>265851</c:v>
                </c:pt>
                <c:pt idx="286">
                  <c:v>265863</c:v>
                </c:pt>
                <c:pt idx="287">
                  <c:v>265940</c:v>
                </c:pt>
                <c:pt idx="288">
                  <c:v>266025</c:v>
                </c:pt>
                <c:pt idx="289">
                  <c:v>266106</c:v>
                </c:pt>
                <c:pt idx="290">
                  <c:v>266174</c:v>
                </c:pt>
                <c:pt idx="291">
                  <c:v>266294</c:v>
                </c:pt>
                <c:pt idx="292">
                  <c:v>266325</c:v>
                </c:pt>
                <c:pt idx="293">
                  <c:v>266355</c:v>
                </c:pt>
                <c:pt idx="294">
                  <c:v>266486</c:v>
                </c:pt>
                <c:pt idx="295">
                  <c:v>266581</c:v>
                </c:pt>
                <c:pt idx="296">
                  <c:v>266713</c:v>
                </c:pt>
                <c:pt idx="297">
                  <c:v>266952</c:v>
                </c:pt>
                <c:pt idx="298">
                  <c:v>267259</c:v>
                </c:pt>
                <c:pt idx="299">
                  <c:v>267342</c:v>
                </c:pt>
                <c:pt idx="300">
                  <c:v>267406</c:v>
                </c:pt>
                <c:pt idx="301">
                  <c:v>267668</c:v>
                </c:pt>
                <c:pt idx="302">
                  <c:v>268030</c:v>
                </c:pt>
                <c:pt idx="303">
                  <c:v>268448</c:v>
                </c:pt>
                <c:pt idx="304">
                  <c:v>268530</c:v>
                </c:pt>
                <c:pt idx="305">
                  <c:v>268909</c:v>
                </c:pt>
                <c:pt idx="306">
                  <c:v>269017</c:v>
                </c:pt>
                <c:pt idx="307">
                  <c:v>269087</c:v>
                </c:pt>
                <c:pt idx="308">
                  <c:v>269504</c:v>
                </c:pt>
                <c:pt idx="309">
                  <c:v>269923</c:v>
                </c:pt>
                <c:pt idx="310">
                  <c:v>270340</c:v>
                </c:pt>
                <c:pt idx="311">
                  <c:v>270841</c:v>
                </c:pt>
                <c:pt idx="312">
                  <c:v>271402</c:v>
                </c:pt>
                <c:pt idx="313">
                  <c:v>271557</c:v>
                </c:pt>
                <c:pt idx="314">
                  <c:v>271654</c:v>
                </c:pt>
                <c:pt idx="315">
                  <c:v>272054</c:v>
                </c:pt>
                <c:pt idx="316">
                  <c:v>272394</c:v>
                </c:pt>
                <c:pt idx="317">
                  <c:v>272779</c:v>
                </c:pt>
                <c:pt idx="318">
                  <c:v>273178</c:v>
                </c:pt>
                <c:pt idx="319">
                  <c:v>273713</c:v>
                </c:pt>
                <c:pt idx="320">
                  <c:v>273837</c:v>
                </c:pt>
                <c:pt idx="321">
                  <c:v>273923</c:v>
                </c:pt>
                <c:pt idx="322">
                  <c:v>274343</c:v>
                </c:pt>
                <c:pt idx="323">
                  <c:v>274815</c:v>
                </c:pt>
                <c:pt idx="324">
                  <c:v>274919</c:v>
                </c:pt>
                <c:pt idx="325">
                  <c:v>275428</c:v>
                </c:pt>
                <c:pt idx="326">
                  <c:v>276051</c:v>
                </c:pt>
                <c:pt idx="327">
                  <c:v>276247</c:v>
                </c:pt>
                <c:pt idx="328">
                  <c:v>276389</c:v>
                </c:pt>
                <c:pt idx="329">
                  <c:v>276810</c:v>
                </c:pt>
                <c:pt idx="330">
                  <c:v>277231</c:v>
                </c:pt>
                <c:pt idx="331">
                  <c:v>277694</c:v>
                </c:pt>
                <c:pt idx="332">
                  <c:v>278172</c:v>
                </c:pt>
                <c:pt idx="333">
                  <c:v>278690</c:v>
                </c:pt>
                <c:pt idx="334">
                  <c:v>278840</c:v>
                </c:pt>
                <c:pt idx="335">
                  <c:v>278891</c:v>
                </c:pt>
                <c:pt idx="336">
                  <c:v>279241</c:v>
                </c:pt>
                <c:pt idx="337">
                  <c:v>279576</c:v>
                </c:pt>
                <c:pt idx="338">
                  <c:v>279926</c:v>
                </c:pt>
                <c:pt idx="339">
                  <c:v>280180</c:v>
                </c:pt>
                <c:pt idx="340">
                  <c:v>280444</c:v>
                </c:pt>
                <c:pt idx="341">
                  <c:v>280497</c:v>
                </c:pt>
                <c:pt idx="342">
                  <c:v>280518</c:v>
                </c:pt>
                <c:pt idx="343">
                  <c:v>280711</c:v>
                </c:pt>
                <c:pt idx="344">
                  <c:v>280890</c:v>
                </c:pt>
                <c:pt idx="345">
                  <c:v>281103</c:v>
                </c:pt>
                <c:pt idx="346">
                  <c:v>281271</c:v>
                </c:pt>
                <c:pt idx="347">
                  <c:v>281459</c:v>
                </c:pt>
                <c:pt idx="348">
                  <c:v>281496</c:v>
                </c:pt>
                <c:pt idx="349">
                  <c:v>281522</c:v>
                </c:pt>
                <c:pt idx="350">
                  <c:v>281697</c:v>
                </c:pt>
                <c:pt idx="351">
                  <c:v>281843</c:v>
                </c:pt>
                <c:pt idx="352">
                  <c:v>281981</c:v>
                </c:pt>
                <c:pt idx="353">
                  <c:v>282153</c:v>
                </c:pt>
                <c:pt idx="354">
                  <c:v>282344</c:v>
                </c:pt>
                <c:pt idx="355">
                  <c:v>282399</c:v>
                </c:pt>
                <c:pt idx="356">
                  <c:v>282414</c:v>
                </c:pt>
                <c:pt idx="357">
                  <c:v>282536</c:v>
                </c:pt>
                <c:pt idx="358">
                  <c:v>282642</c:v>
                </c:pt>
                <c:pt idx="359">
                  <c:v>282733</c:v>
                </c:pt>
                <c:pt idx="360">
                  <c:v>282765</c:v>
                </c:pt>
                <c:pt idx="361">
                  <c:v>282827</c:v>
                </c:pt>
                <c:pt idx="362">
                  <c:v>282896</c:v>
                </c:pt>
                <c:pt idx="363">
                  <c:v>282964</c:v>
                </c:pt>
                <c:pt idx="364">
                  <c:v>283037</c:v>
                </c:pt>
                <c:pt idx="365">
                  <c:v>283044</c:v>
                </c:pt>
                <c:pt idx="366">
                  <c:v>283051</c:v>
                </c:pt>
                <c:pt idx="367">
                  <c:v>283131</c:v>
                </c:pt>
                <c:pt idx="368">
                  <c:v>283211</c:v>
                </c:pt>
                <c:pt idx="369">
                  <c:v>283314</c:v>
                </c:pt>
                <c:pt idx="370">
                  <c:v>283429</c:v>
                </c:pt>
                <c:pt idx="371">
                  <c:v>283607</c:v>
                </c:pt>
                <c:pt idx="372">
                  <c:v>283630</c:v>
                </c:pt>
                <c:pt idx="373">
                  <c:v>283648</c:v>
                </c:pt>
                <c:pt idx="374">
                  <c:v>283733</c:v>
                </c:pt>
                <c:pt idx="375">
                  <c:v>283831</c:v>
                </c:pt>
                <c:pt idx="376">
                  <c:v>283937</c:v>
                </c:pt>
                <c:pt idx="377">
                  <c:v>284057</c:v>
                </c:pt>
                <c:pt idx="378">
                  <c:v>284212</c:v>
                </c:pt>
                <c:pt idx="379">
                  <c:v>284250</c:v>
                </c:pt>
                <c:pt idx="380">
                  <c:v>284266</c:v>
                </c:pt>
                <c:pt idx="381">
                  <c:v>284360</c:v>
                </c:pt>
                <c:pt idx="382">
                  <c:v>284470</c:v>
                </c:pt>
                <c:pt idx="383">
                  <c:v>284539</c:v>
                </c:pt>
                <c:pt idx="384">
                  <c:v>284600</c:v>
                </c:pt>
                <c:pt idx="385">
                  <c:v>284696</c:v>
                </c:pt>
                <c:pt idx="386">
                  <c:v>284704</c:v>
                </c:pt>
                <c:pt idx="387">
                  <c:v>284712</c:v>
                </c:pt>
                <c:pt idx="388">
                  <c:v>284752</c:v>
                </c:pt>
                <c:pt idx="389">
                  <c:v>284794</c:v>
                </c:pt>
                <c:pt idx="390">
                  <c:v>284838</c:v>
                </c:pt>
                <c:pt idx="391">
                  <c:v>284876</c:v>
                </c:pt>
                <c:pt idx="392">
                  <c:v>2849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9B2-46E3-85FE-A83BCF6CC08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ry</c:v>
                </c:pt>
              </c:strCache>
            </c:strRef>
          </c:tx>
          <c:spPr>
            <a:ln w="28575" cap="rnd">
              <a:solidFill>
                <a:srgbClr val="ED7D31"/>
              </a:solidFill>
              <a:round/>
            </a:ln>
            <a:effectLst/>
          </c:spPr>
          <c:marker>
            <c:symbol val="none"/>
          </c:marker>
          <c:cat>
            <c:strRef>
              <c:f>List1!$J$1:$OL$1</c:f>
              <c:strCache>
                <c:ptCount val="393"/>
                <c:pt idx="0">
                  <c:v>28.XII.20</c:v>
                </c:pt>
                <c:pt idx="1">
                  <c:v>29.XII.20</c:v>
                </c:pt>
                <c:pt idx="2">
                  <c:v>30.XII.20</c:v>
                </c:pt>
                <c:pt idx="3">
                  <c:v>31.XII.20</c:v>
                </c:pt>
                <c:pt idx="4">
                  <c:v>1.I.21</c:v>
                </c:pt>
                <c:pt idx="5">
                  <c:v>2.I.21</c:v>
                </c:pt>
                <c:pt idx="6">
                  <c:v>3.I.21</c:v>
                </c:pt>
                <c:pt idx="7">
                  <c:v>4.I.21</c:v>
                </c:pt>
                <c:pt idx="8">
                  <c:v>5.I.21</c:v>
                </c:pt>
                <c:pt idx="9">
                  <c:v>6.I.21</c:v>
                </c:pt>
                <c:pt idx="10">
                  <c:v>7.I.21</c:v>
                </c:pt>
                <c:pt idx="11">
                  <c:v>8.I.21</c:v>
                </c:pt>
                <c:pt idx="12">
                  <c:v>9.I.21</c:v>
                </c:pt>
                <c:pt idx="13">
                  <c:v>10.I.21</c:v>
                </c:pt>
                <c:pt idx="14">
                  <c:v>11.I.21</c:v>
                </c:pt>
                <c:pt idx="15">
                  <c:v>12.I.21</c:v>
                </c:pt>
                <c:pt idx="16">
                  <c:v>13.I.21</c:v>
                </c:pt>
                <c:pt idx="17">
                  <c:v>14.I.21</c:v>
                </c:pt>
                <c:pt idx="18">
                  <c:v>15.I.21</c:v>
                </c:pt>
                <c:pt idx="19">
                  <c:v>16.I.21</c:v>
                </c:pt>
                <c:pt idx="20">
                  <c:v>17.I.21</c:v>
                </c:pt>
                <c:pt idx="21">
                  <c:v>18.I.21</c:v>
                </c:pt>
                <c:pt idx="22">
                  <c:v>19.I.21</c:v>
                </c:pt>
                <c:pt idx="23">
                  <c:v>20.I.21</c:v>
                </c:pt>
                <c:pt idx="24">
                  <c:v>21.I.21</c:v>
                </c:pt>
                <c:pt idx="25">
                  <c:v>22.I.21</c:v>
                </c:pt>
                <c:pt idx="26">
                  <c:v>23.I.21</c:v>
                </c:pt>
                <c:pt idx="27">
                  <c:v>24.I.21</c:v>
                </c:pt>
                <c:pt idx="28">
                  <c:v>25.I.21</c:v>
                </c:pt>
                <c:pt idx="29">
                  <c:v>26.I.21</c:v>
                </c:pt>
                <c:pt idx="30">
                  <c:v>27.I.21</c:v>
                </c:pt>
                <c:pt idx="31">
                  <c:v>28.I.21</c:v>
                </c:pt>
                <c:pt idx="32">
                  <c:v>29.I.21</c:v>
                </c:pt>
                <c:pt idx="33">
                  <c:v>30.I.21</c:v>
                </c:pt>
                <c:pt idx="34">
                  <c:v>31.I.21</c:v>
                </c:pt>
                <c:pt idx="35">
                  <c:v>1.II.21</c:v>
                </c:pt>
                <c:pt idx="36">
                  <c:v>2.II.21</c:v>
                </c:pt>
                <c:pt idx="37">
                  <c:v>3.II.21</c:v>
                </c:pt>
                <c:pt idx="38">
                  <c:v>4.II.21</c:v>
                </c:pt>
                <c:pt idx="39">
                  <c:v>5.II.21</c:v>
                </c:pt>
                <c:pt idx="40">
                  <c:v>6.II.21</c:v>
                </c:pt>
                <c:pt idx="41">
                  <c:v>7.II.21</c:v>
                </c:pt>
                <c:pt idx="42">
                  <c:v>8.II.21</c:v>
                </c:pt>
                <c:pt idx="43">
                  <c:v>9.II.21</c:v>
                </c:pt>
                <c:pt idx="44">
                  <c:v>10.II.21</c:v>
                </c:pt>
                <c:pt idx="45">
                  <c:v>11.II.21</c:v>
                </c:pt>
                <c:pt idx="46">
                  <c:v>12.II.21</c:v>
                </c:pt>
                <c:pt idx="47">
                  <c:v>13.II.21</c:v>
                </c:pt>
                <c:pt idx="48">
                  <c:v>14.II.21</c:v>
                </c:pt>
                <c:pt idx="49">
                  <c:v>15.II.21</c:v>
                </c:pt>
                <c:pt idx="50">
                  <c:v>16.II.21</c:v>
                </c:pt>
                <c:pt idx="51">
                  <c:v>17.II.21</c:v>
                </c:pt>
                <c:pt idx="52">
                  <c:v>18.II.21</c:v>
                </c:pt>
                <c:pt idx="53">
                  <c:v>19.II.21</c:v>
                </c:pt>
                <c:pt idx="54">
                  <c:v>20.II.21</c:v>
                </c:pt>
                <c:pt idx="55">
                  <c:v>21.II.21</c:v>
                </c:pt>
                <c:pt idx="56">
                  <c:v>22.II.21</c:v>
                </c:pt>
                <c:pt idx="57">
                  <c:v>23.II.21</c:v>
                </c:pt>
                <c:pt idx="58">
                  <c:v>24.II.21</c:v>
                </c:pt>
                <c:pt idx="59">
                  <c:v>25.II.21</c:v>
                </c:pt>
                <c:pt idx="60">
                  <c:v>26.II.21</c:v>
                </c:pt>
                <c:pt idx="61">
                  <c:v>27.II.21</c:v>
                </c:pt>
                <c:pt idx="62">
                  <c:v>28.II.21</c:v>
                </c:pt>
                <c:pt idx="63">
                  <c:v>1.III.21</c:v>
                </c:pt>
                <c:pt idx="64">
                  <c:v>2.III.21</c:v>
                </c:pt>
                <c:pt idx="65">
                  <c:v>3.III.21</c:v>
                </c:pt>
                <c:pt idx="66">
                  <c:v>4.III.21</c:v>
                </c:pt>
                <c:pt idx="67">
                  <c:v>5.III.21</c:v>
                </c:pt>
                <c:pt idx="68">
                  <c:v>6.III.21</c:v>
                </c:pt>
                <c:pt idx="69">
                  <c:v>7.III.21</c:v>
                </c:pt>
                <c:pt idx="70">
                  <c:v>8.III.21</c:v>
                </c:pt>
                <c:pt idx="71">
                  <c:v>9.III.21</c:v>
                </c:pt>
                <c:pt idx="72">
                  <c:v>10.III.21</c:v>
                </c:pt>
                <c:pt idx="73">
                  <c:v>11.III.21</c:v>
                </c:pt>
                <c:pt idx="74">
                  <c:v>12.III.21</c:v>
                </c:pt>
                <c:pt idx="75">
                  <c:v>13.III.21</c:v>
                </c:pt>
                <c:pt idx="76">
                  <c:v>14.III.21</c:v>
                </c:pt>
                <c:pt idx="77">
                  <c:v>15.III.21</c:v>
                </c:pt>
                <c:pt idx="78">
                  <c:v>16.III.21</c:v>
                </c:pt>
                <c:pt idx="79">
                  <c:v>17.III.21</c:v>
                </c:pt>
                <c:pt idx="80">
                  <c:v>18.III.21</c:v>
                </c:pt>
                <c:pt idx="81">
                  <c:v>19.III.21</c:v>
                </c:pt>
                <c:pt idx="82">
                  <c:v>20.III.21</c:v>
                </c:pt>
                <c:pt idx="83">
                  <c:v>21.III.21</c:v>
                </c:pt>
                <c:pt idx="84">
                  <c:v>22.III.21</c:v>
                </c:pt>
                <c:pt idx="85">
                  <c:v>23.III.21</c:v>
                </c:pt>
                <c:pt idx="86">
                  <c:v>24.III.21</c:v>
                </c:pt>
                <c:pt idx="87">
                  <c:v>25.III.21</c:v>
                </c:pt>
                <c:pt idx="88">
                  <c:v>26.III.21</c:v>
                </c:pt>
                <c:pt idx="89">
                  <c:v>27.III.21</c:v>
                </c:pt>
                <c:pt idx="90">
                  <c:v>28.III.21</c:v>
                </c:pt>
                <c:pt idx="91">
                  <c:v>29.III.21</c:v>
                </c:pt>
                <c:pt idx="92">
                  <c:v>30.III.21</c:v>
                </c:pt>
                <c:pt idx="93">
                  <c:v>31.III.21</c:v>
                </c:pt>
                <c:pt idx="94">
                  <c:v>1.IV.21</c:v>
                </c:pt>
                <c:pt idx="95">
                  <c:v>2.IV.21</c:v>
                </c:pt>
                <c:pt idx="96">
                  <c:v>3.IV.21</c:v>
                </c:pt>
                <c:pt idx="97">
                  <c:v>4.IV.21</c:v>
                </c:pt>
                <c:pt idx="98">
                  <c:v>5.IV.21</c:v>
                </c:pt>
                <c:pt idx="99">
                  <c:v>6.IV.21</c:v>
                </c:pt>
                <c:pt idx="100">
                  <c:v>7.IV.21</c:v>
                </c:pt>
                <c:pt idx="101">
                  <c:v>8.IV.21</c:v>
                </c:pt>
                <c:pt idx="102">
                  <c:v>9.IV.21</c:v>
                </c:pt>
                <c:pt idx="103">
                  <c:v>10.IV.21</c:v>
                </c:pt>
                <c:pt idx="104">
                  <c:v>11.IV.21</c:v>
                </c:pt>
                <c:pt idx="105">
                  <c:v>12.IV.21</c:v>
                </c:pt>
                <c:pt idx="106">
                  <c:v>13.IV.21</c:v>
                </c:pt>
                <c:pt idx="107">
                  <c:v>14.IV.21</c:v>
                </c:pt>
                <c:pt idx="108">
                  <c:v>15.IV.21</c:v>
                </c:pt>
                <c:pt idx="109">
                  <c:v>16.IV.21</c:v>
                </c:pt>
                <c:pt idx="110">
                  <c:v>17.IV.21</c:v>
                </c:pt>
                <c:pt idx="111">
                  <c:v>18.IV.21</c:v>
                </c:pt>
                <c:pt idx="112">
                  <c:v>19.IV.21</c:v>
                </c:pt>
                <c:pt idx="113">
                  <c:v>20.IV.21</c:v>
                </c:pt>
                <c:pt idx="114">
                  <c:v>21.IV.21</c:v>
                </c:pt>
                <c:pt idx="115">
                  <c:v>22.IV.21</c:v>
                </c:pt>
                <c:pt idx="116">
                  <c:v>23.IV.21</c:v>
                </c:pt>
                <c:pt idx="117">
                  <c:v>24.IV.21</c:v>
                </c:pt>
                <c:pt idx="118">
                  <c:v>25.IV.21</c:v>
                </c:pt>
                <c:pt idx="119">
                  <c:v>26.IV.21</c:v>
                </c:pt>
                <c:pt idx="120">
                  <c:v>27.IV.21</c:v>
                </c:pt>
                <c:pt idx="121">
                  <c:v>28.IV.21</c:v>
                </c:pt>
                <c:pt idx="122">
                  <c:v>29.IV.21</c:v>
                </c:pt>
                <c:pt idx="123">
                  <c:v>30.IV.21</c:v>
                </c:pt>
                <c:pt idx="124">
                  <c:v>1.V.21</c:v>
                </c:pt>
                <c:pt idx="125">
                  <c:v>2.V.21</c:v>
                </c:pt>
                <c:pt idx="126">
                  <c:v>3.V.21</c:v>
                </c:pt>
                <c:pt idx="127">
                  <c:v>4.V.21</c:v>
                </c:pt>
                <c:pt idx="128">
                  <c:v>5.V.21</c:v>
                </c:pt>
                <c:pt idx="129">
                  <c:v>6.V.21</c:v>
                </c:pt>
                <c:pt idx="130">
                  <c:v>7.V.21</c:v>
                </c:pt>
                <c:pt idx="131">
                  <c:v>8.V.21</c:v>
                </c:pt>
                <c:pt idx="132">
                  <c:v>9.V.21</c:v>
                </c:pt>
                <c:pt idx="133">
                  <c:v>10.V.21</c:v>
                </c:pt>
                <c:pt idx="134">
                  <c:v>11.V.21</c:v>
                </c:pt>
                <c:pt idx="135">
                  <c:v>12.V.21</c:v>
                </c:pt>
                <c:pt idx="136">
                  <c:v>13.V.21</c:v>
                </c:pt>
                <c:pt idx="137">
                  <c:v>14.V.21</c:v>
                </c:pt>
                <c:pt idx="138">
                  <c:v>15.V.21</c:v>
                </c:pt>
                <c:pt idx="139">
                  <c:v>16.V.21</c:v>
                </c:pt>
                <c:pt idx="140">
                  <c:v>17.V.21</c:v>
                </c:pt>
                <c:pt idx="141">
                  <c:v>18.V.21</c:v>
                </c:pt>
                <c:pt idx="142">
                  <c:v>19.V.21</c:v>
                </c:pt>
                <c:pt idx="143">
                  <c:v>20.V.21</c:v>
                </c:pt>
                <c:pt idx="144">
                  <c:v>21.V.21</c:v>
                </c:pt>
                <c:pt idx="145">
                  <c:v>22.V.21</c:v>
                </c:pt>
                <c:pt idx="146">
                  <c:v>23.V.21</c:v>
                </c:pt>
                <c:pt idx="147">
                  <c:v>24.V.21</c:v>
                </c:pt>
                <c:pt idx="148">
                  <c:v>25.V.21</c:v>
                </c:pt>
                <c:pt idx="149">
                  <c:v>26.V.21</c:v>
                </c:pt>
                <c:pt idx="150">
                  <c:v>27.V.21</c:v>
                </c:pt>
                <c:pt idx="151">
                  <c:v>28.V.21</c:v>
                </c:pt>
                <c:pt idx="152">
                  <c:v>29.V.21</c:v>
                </c:pt>
                <c:pt idx="153">
                  <c:v>30.V.21</c:v>
                </c:pt>
                <c:pt idx="154">
                  <c:v>31.V.21</c:v>
                </c:pt>
                <c:pt idx="155">
                  <c:v>1.VI.21</c:v>
                </c:pt>
                <c:pt idx="156">
                  <c:v>2.VI.21</c:v>
                </c:pt>
                <c:pt idx="157">
                  <c:v>3.VI.21</c:v>
                </c:pt>
                <c:pt idx="158">
                  <c:v>4.VI.21</c:v>
                </c:pt>
                <c:pt idx="159">
                  <c:v>5.VI.21</c:v>
                </c:pt>
                <c:pt idx="160">
                  <c:v>6.VI.21</c:v>
                </c:pt>
                <c:pt idx="161">
                  <c:v>7.VI.21</c:v>
                </c:pt>
                <c:pt idx="162">
                  <c:v>8.VI.21</c:v>
                </c:pt>
                <c:pt idx="163">
                  <c:v>9.VI.21</c:v>
                </c:pt>
                <c:pt idx="164">
                  <c:v>10.VI.21</c:v>
                </c:pt>
                <c:pt idx="165">
                  <c:v>11.VI.21</c:v>
                </c:pt>
                <c:pt idx="166">
                  <c:v>12.VI.21</c:v>
                </c:pt>
                <c:pt idx="167">
                  <c:v>13.VI.21</c:v>
                </c:pt>
                <c:pt idx="168">
                  <c:v>14.VI.21</c:v>
                </c:pt>
                <c:pt idx="169">
                  <c:v>15.VI.21</c:v>
                </c:pt>
                <c:pt idx="170">
                  <c:v>16.VI.21</c:v>
                </c:pt>
                <c:pt idx="171">
                  <c:v>17.VI.21</c:v>
                </c:pt>
                <c:pt idx="172">
                  <c:v>18.VI.21</c:v>
                </c:pt>
                <c:pt idx="173">
                  <c:v>19.VI.21</c:v>
                </c:pt>
                <c:pt idx="174">
                  <c:v>20.VI.21</c:v>
                </c:pt>
                <c:pt idx="175">
                  <c:v>21.VI.21</c:v>
                </c:pt>
                <c:pt idx="176">
                  <c:v>22.VI.21</c:v>
                </c:pt>
                <c:pt idx="177">
                  <c:v>23.VI.21</c:v>
                </c:pt>
                <c:pt idx="178">
                  <c:v>24.VI.21</c:v>
                </c:pt>
                <c:pt idx="179">
                  <c:v>25.VI.21</c:v>
                </c:pt>
                <c:pt idx="180">
                  <c:v>26.VI.21</c:v>
                </c:pt>
                <c:pt idx="181">
                  <c:v>27.VI.21</c:v>
                </c:pt>
                <c:pt idx="182">
                  <c:v>28.VI.21</c:v>
                </c:pt>
                <c:pt idx="183">
                  <c:v>29.VI.21</c:v>
                </c:pt>
                <c:pt idx="184">
                  <c:v>30.VI.21</c:v>
                </c:pt>
                <c:pt idx="185">
                  <c:v>1.VII.21</c:v>
                </c:pt>
                <c:pt idx="186">
                  <c:v>2.VII.21</c:v>
                </c:pt>
                <c:pt idx="187">
                  <c:v>3.VII.21</c:v>
                </c:pt>
                <c:pt idx="188">
                  <c:v>4.VII.21</c:v>
                </c:pt>
                <c:pt idx="189">
                  <c:v>5.VII.21</c:v>
                </c:pt>
                <c:pt idx="190">
                  <c:v>6.VII.21</c:v>
                </c:pt>
                <c:pt idx="191">
                  <c:v>7.VII.21</c:v>
                </c:pt>
                <c:pt idx="192">
                  <c:v>8.VII.21</c:v>
                </c:pt>
                <c:pt idx="193">
                  <c:v>9.VII.21</c:v>
                </c:pt>
                <c:pt idx="194">
                  <c:v>10.VII.21</c:v>
                </c:pt>
                <c:pt idx="195">
                  <c:v>11.VII.21</c:v>
                </c:pt>
                <c:pt idx="196">
                  <c:v>12.VII.21</c:v>
                </c:pt>
                <c:pt idx="197">
                  <c:v>13.VII.21</c:v>
                </c:pt>
                <c:pt idx="198">
                  <c:v>14.VII.21</c:v>
                </c:pt>
                <c:pt idx="199">
                  <c:v>15.VII.21</c:v>
                </c:pt>
                <c:pt idx="200">
                  <c:v>16.VII.21</c:v>
                </c:pt>
                <c:pt idx="201">
                  <c:v>17.VII.21</c:v>
                </c:pt>
                <c:pt idx="202">
                  <c:v>18.VII.21</c:v>
                </c:pt>
                <c:pt idx="203">
                  <c:v>19.VII.21</c:v>
                </c:pt>
                <c:pt idx="204">
                  <c:v>20.VII.21</c:v>
                </c:pt>
                <c:pt idx="205">
                  <c:v>21.VII.21</c:v>
                </c:pt>
                <c:pt idx="206">
                  <c:v>22.VII.21</c:v>
                </c:pt>
                <c:pt idx="207">
                  <c:v>23.VII.21</c:v>
                </c:pt>
                <c:pt idx="208">
                  <c:v>24.VII.21</c:v>
                </c:pt>
                <c:pt idx="209">
                  <c:v>25.VII.21</c:v>
                </c:pt>
                <c:pt idx="210">
                  <c:v>26.VII.21</c:v>
                </c:pt>
                <c:pt idx="211">
                  <c:v>27.VII.21</c:v>
                </c:pt>
                <c:pt idx="212">
                  <c:v>28.VII.21</c:v>
                </c:pt>
                <c:pt idx="213">
                  <c:v>29.VII.21</c:v>
                </c:pt>
                <c:pt idx="214">
                  <c:v>30.VII.21</c:v>
                </c:pt>
                <c:pt idx="215">
                  <c:v>31.VII.21</c:v>
                </c:pt>
                <c:pt idx="216">
                  <c:v>1.VIII.21</c:v>
                </c:pt>
                <c:pt idx="217">
                  <c:v>2.VIII.21</c:v>
                </c:pt>
                <c:pt idx="218">
                  <c:v>3.VIII.21</c:v>
                </c:pt>
                <c:pt idx="219">
                  <c:v>4.VIII.21</c:v>
                </c:pt>
                <c:pt idx="220">
                  <c:v>5.VIII.21</c:v>
                </c:pt>
                <c:pt idx="221">
                  <c:v>6.VIII.21</c:v>
                </c:pt>
                <c:pt idx="222">
                  <c:v>7.VIII.21</c:v>
                </c:pt>
                <c:pt idx="223">
                  <c:v>8.VIII.21</c:v>
                </c:pt>
                <c:pt idx="224">
                  <c:v>9.VIII.21</c:v>
                </c:pt>
                <c:pt idx="225">
                  <c:v>10.VIII.21</c:v>
                </c:pt>
                <c:pt idx="226">
                  <c:v>11.VIII.21</c:v>
                </c:pt>
                <c:pt idx="227">
                  <c:v>12.VIII.21</c:v>
                </c:pt>
                <c:pt idx="228">
                  <c:v>13.VIII.21</c:v>
                </c:pt>
                <c:pt idx="229">
                  <c:v>14.VIII.21</c:v>
                </c:pt>
                <c:pt idx="230">
                  <c:v>15.VIII.21</c:v>
                </c:pt>
                <c:pt idx="231">
                  <c:v>16.VIII.21</c:v>
                </c:pt>
                <c:pt idx="232">
                  <c:v>17.VIII.21</c:v>
                </c:pt>
                <c:pt idx="233">
                  <c:v>18.VIII.21</c:v>
                </c:pt>
                <c:pt idx="234">
                  <c:v>19.VIII.21</c:v>
                </c:pt>
                <c:pt idx="235">
                  <c:v>20.VIII.21</c:v>
                </c:pt>
                <c:pt idx="236">
                  <c:v>21.VIII.21</c:v>
                </c:pt>
                <c:pt idx="237">
                  <c:v>22.VIII.21</c:v>
                </c:pt>
                <c:pt idx="238">
                  <c:v>23.VIII.21</c:v>
                </c:pt>
                <c:pt idx="239">
                  <c:v>24.VIII.21</c:v>
                </c:pt>
                <c:pt idx="240">
                  <c:v>25.VIII.21</c:v>
                </c:pt>
                <c:pt idx="241">
                  <c:v>26.VIII.21</c:v>
                </c:pt>
                <c:pt idx="242">
                  <c:v>27.VIII.21</c:v>
                </c:pt>
                <c:pt idx="243">
                  <c:v>28.VIII.21</c:v>
                </c:pt>
                <c:pt idx="244">
                  <c:v>29.VIII.21</c:v>
                </c:pt>
                <c:pt idx="245">
                  <c:v>30.VIII.21</c:v>
                </c:pt>
                <c:pt idx="246">
                  <c:v>31.VIII.21</c:v>
                </c:pt>
                <c:pt idx="247">
                  <c:v>1.IX.21</c:v>
                </c:pt>
                <c:pt idx="248">
                  <c:v>2.IX.21</c:v>
                </c:pt>
                <c:pt idx="249">
                  <c:v>3.IX.21</c:v>
                </c:pt>
                <c:pt idx="250">
                  <c:v>4.IX.21</c:v>
                </c:pt>
                <c:pt idx="251">
                  <c:v>5.IX.21</c:v>
                </c:pt>
                <c:pt idx="252">
                  <c:v>6.IX.21</c:v>
                </c:pt>
                <c:pt idx="253">
                  <c:v>7.IX.21</c:v>
                </c:pt>
                <c:pt idx="254">
                  <c:v>8.IX.21</c:v>
                </c:pt>
                <c:pt idx="255">
                  <c:v>9.IX.21</c:v>
                </c:pt>
                <c:pt idx="256">
                  <c:v>10.IX.21</c:v>
                </c:pt>
                <c:pt idx="257">
                  <c:v>11.IX.21</c:v>
                </c:pt>
                <c:pt idx="258">
                  <c:v>12.IX.21</c:v>
                </c:pt>
                <c:pt idx="259">
                  <c:v>13.IX.21</c:v>
                </c:pt>
                <c:pt idx="260">
                  <c:v>14.IX.21</c:v>
                </c:pt>
                <c:pt idx="261">
                  <c:v>15.IX.21</c:v>
                </c:pt>
                <c:pt idx="262">
                  <c:v>16.IX.21</c:v>
                </c:pt>
                <c:pt idx="263">
                  <c:v>17.IX.21</c:v>
                </c:pt>
                <c:pt idx="264">
                  <c:v>18.IX.21</c:v>
                </c:pt>
                <c:pt idx="265">
                  <c:v>19.IX.21</c:v>
                </c:pt>
                <c:pt idx="266">
                  <c:v>20.IX.21</c:v>
                </c:pt>
                <c:pt idx="267">
                  <c:v>21.IX.21</c:v>
                </c:pt>
                <c:pt idx="268">
                  <c:v>22.IX.21</c:v>
                </c:pt>
                <c:pt idx="269">
                  <c:v>23.IX.21</c:v>
                </c:pt>
                <c:pt idx="270">
                  <c:v>24.IX.21</c:v>
                </c:pt>
                <c:pt idx="271">
                  <c:v>25.IX.21</c:v>
                </c:pt>
                <c:pt idx="272">
                  <c:v>26.IX.21</c:v>
                </c:pt>
                <c:pt idx="273">
                  <c:v>27.IX.21</c:v>
                </c:pt>
                <c:pt idx="274">
                  <c:v>28.IX.21</c:v>
                </c:pt>
                <c:pt idx="275">
                  <c:v>29.IX.21</c:v>
                </c:pt>
                <c:pt idx="276">
                  <c:v>30.IX.21</c:v>
                </c:pt>
                <c:pt idx="277">
                  <c:v>1.X.21</c:v>
                </c:pt>
                <c:pt idx="278">
                  <c:v>2.X.21</c:v>
                </c:pt>
                <c:pt idx="279">
                  <c:v>3.X.21</c:v>
                </c:pt>
                <c:pt idx="280">
                  <c:v>4.X.21</c:v>
                </c:pt>
                <c:pt idx="281">
                  <c:v>5.X.21</c:v>
                </c:pt>
                <c:pt idx="282">
                  <c:v>6.X.21</c:v>
                </c:pt>
                <c:pt idx="283">
                  <c:v>7.X.21</c:v>
                </c:pt>
                <c:pt idx="284">
                  <c:v>8.X.21</c:v>
                </c:pt>
                <c:pt idx="285">
                  <c:v>9.X.21</c:v>
                </c:pt>
                <c:pt idx="286">
                  <c:v>10.X.21</c:v>
                </c:pt>
                <c:pt idx="287">
                  <c:v>11.X.21</c:v>
                </c:pt>
                <c:pt idx="288">
                  <c:v>12.X.21</c:v>
                </c:pt>
                <c:pt idx="289">
                  <c:v>13.X.21</c:v>
                </c:pt>
                <c:pt idx="290">
                  <c:v>14.X.21</c:v>
                </c:pt>
                <c:pt idx="291">
                  <c:v>15.X.21</c:v>
                </c:pt>
                <c:pt idx="292">
                  <c:v>16.X.21</c:v>
                </c:pt>
                <c:pt idx="293">
                  <c:v>17.X.21</c:v>
                </c:pt>
                <c:pt idx="294">
                  <c:v>18.X.21</c:v>
                </c:pt>
                <c:pt idx="295">
                  <c:v>19.X.21</c:v>
                </c:pt>
                <c:pt idx="296">
                  <c:v>20.X.21</c:v>
                </c:pt>
                <c:pt idx="297">
                  <c:v>21.X.21</c:v>
                </c:pt>
                <c:pt idx="298">
                  <c:v>22.X.21</c:v>
                </c:pt>
                <c:pt idx="299">
                  <c:v>23.X.21</c:v>
                </c:pt>
                <c:pt idx="300">
                  <c:v>24.X.21</c:v>
                </c:pt>
                <c:pt idx="301">
                  <c:v>25.X.21</c:v>
                </c:pt>
                <c:pt idx="302">
                  <c:v>26.X.21</c:v>
                </c:pt>
                <c:pt idx="303">
                  <c:v>27.X.21</c:v>
                </c:pt>
                <c:pt idx="304">
                  <c:v>28.X.21</c:v>
                </c:pt>
                <c:pt idx="305">
                  <c:v>29.X.21</c:v>
                </c:pt>
                <c:pt idx="306">
                  <c:v>30.X.21</c:v>
                </c:pt>
                <c:pt idx="307">
                  <c:v>31.X.21</c:v>
                </c:pt>
                <c:pt idx="308">
                  <c:v>1.XI.21</c:v>
                </c:pt>
                <c:pt idx="309">
                  <c:v>2.XI.21</c:v>
                </c:pt>
                <c:pt idx="310">
                  <c:v>3.XI.21</c:v>
                </c:pt>
                <c:pt idx="311">
                  <c:v>4.XI.21</c:v>
                </c:pt>
                <c:pt idx="312">
                  <c:v>5.XI.21</c:v>
                </c:pt>
                <c:pt idx="313">
                  <c:v>6.XI.21</c:v>
                </c:pt>
                <c:pt idx="314">
                  <c:v>7.XI.21</c:v>
                </c:pt>
                <c:pt idx="315">
                  <c:v>8.XI.21</c:v>
                </c:pt>
                <c:pt idx="316">
                  <c:v>9.XI.21</c:v>
                </c:pt>
                <c:pt idx="317">
                  <c:v>10.XI.21</c:v>
                </c:pt>
                <c:pt idx="318">
                  <c:v>11.XI.21</c:v>
                </c:pt>
                <c:pt idx="319">
                  <c:v>12.XI.21</c:v>
                </c:pt>
                <c:pt idx="320">
                  <c:v>13.XI.21</c:v>
                </c:pt>
                <c:pt idx="321">
                  <c:v>14.XI.21</c:v>
                </c:pt>
                <c:pt idx="322">
                  <c:v>15.XI.21</c:v>
                </c:pt>
                <c:pt idx="323">
                  <c:v>16.XI.21</c:v>
                </c:pt>
                <c:pt idx="324">
                  <c:v>17.XI.21</c:v>
                </c:pt>
                <c:pt idx="325">
                  <c:v>18.XI.21</c:v>
                </c:pt>
                <c:pt idx="326">
                  <c:v>19.XI.21</c:v>
                </c:pt>
                <c:pt idx="327">
                  <c:v>20.XI.21</c:v>
                </c:pt>
                <c:pt idx="328">
                  <c:v>21.XI.21</c:v>
                </c:pt>
                <c:pt idx="329">
                  <c:v>22.XI.21</c:v>
                </c:pt>
                <c:pt idx="330">
                  <c:v>23.XI.21</c:v>
                </c:pt>
                <c:pt idx="331">
                  <c:v>24.XI.21</c:v>
                </c:pt>
                <c:pt idx="332">
                  <c:v>25.XI.21</c:v>
                </c:pt>
                <c:pt idx="333">
                  <c:v>26.XI.21</c:v>
                </c:pt>
                <c:pt idx="334">
                  <c:v>27.XI.21</c:v>
                </c:pt>
                <c:pt idx="335">
                  <c:v>28.XI.21</c:v>
                </c:pt>
                <c:pt idx="336">
                  <c:v>29.XI.21</c:v>
                </c:pt>
                <c:pt idx="337">
                  <c:v>30.XI.21</c:v>
                </c:pt>
                <c:pt idx="338">
                  <c:v>1.XII.21</c:v>
                </c:pt>
                <c:pt idx="339">
                  <c:v>2.XII.21</c:v>
                </c:pt>
                <c:pt idx="340">
                  <c:v>3.XII.21</c:v>
                </c:pt>
                <c:pt idx="341">
                  <c:v>4.XII.21</c:v>
                </c:pt>
                <c:pt idx="342">
                  <c:v>5.XII.21</c:v>
                </c:pt>
                <c:pt idx="343">
                  <c:v>6.XII.21</c:v>
                </c:pt>
                <c:pt idx="344">
                  <c:v>7.XII.21</c:v>
                </c:pt>
                <c:pt idx="345">
                  <c:v>8.XII.21</c:v>
                </c:pt>
                <c:pt idx="346">
                  <c:v>9.XII.21</c:v>
                </c:pt>
                <c:pt idx="347">
                  <c:v>10.XII.21</c:v>
                </c:pt>
                <c:pt idx="348">
                  <c:v>11.XII.21</c:v>
                </c:pt>
                <c:pt idx="349">
                  <c:v>12.XII.21</c:v>
                </c:pt>
                <c:pt idx="350">
                  <c:v>13.XII.21</c:v>
                </c:pt>
                <c:pt idx="351">
                  <c:v>14.XII.21</c:v>
                </c:pt>
                <c:pt idx="352">
                  <c:v>15.XII.21</c:v>
                </c:pt>
                <c:pt idx="353">
                  <c:v>16.XII.21</c:v>
                </c:pt>
                <c:pt idx="354">
                  <c:v>17.XII.21</c:v>
                </c:pt>
                <c:pt idx="355">
                  <c:v>18.XII.21</c:v>
                </c:pt>
                <c:pt idx="356">
                  <c:v>19.XII.21</c:v>
                </c:pt>
                <c:pt idx="357">
                  <c:v>20.XII.21</c:v>
                </c:pt>
                <c:pt idx="358">
                  <c:v>21.XII.21</c:v>
                </c:pt>
                <c:pt idx="359">
                  <c:v>22.XII.21</c:v>
                </c:pt>
                <c:pt idx="360">
                  <c:v>23.XII.21</c:v>
                </c:pt>
                <c:pt idx="361">
                  <c:v>27.XII.21</c:v>
                </c:pt>
                <c:pt idx="362">
                  <c:v>28.XII.21</c:v>
                </c:pt>
                <c:pt idx="363">
                  <c:v>29.XII.21</c:v>
                </c:pt>
                <c:pt idx="364">
                  <c:v>30.XII.21</c:v>
                </c:pt>
                <c:pt idx="365">
                  <c:v>31.XII.21</c:v>
                </c:pt>
                <c:pt idx="366">
                  <c:v>2.I.22</c:v>
                </c:pt>
                <c:pt idx="367">
                  <c:v>3.I.22</c:v>
                </c:pt>
                <c:pt idx="368">
                  <c:v>4.I.22</c:v>
                </c:pt>
                <c:pt idx="369">
                  <c:v>5.I.22</c:v>
                </c:pt>
                <c:pt idx="370">
                  <c:v>6.I.22</c:v>
                </c:pt>
                <c:pt idx="371">
                  <c:v>7.I.22</c:v>
                </c:pt>
                <c:pt idx="372">
                  <c:v>8.I.22</c:v>
                </c:pt>
                <c:pt idx="373">
                  <c:v>9.I.22</c:v>
                </c:pt>
                <c:pt idx="374">
                  <c:v>10.I.22</c:v>
                </c:pt>
                <c:pt idx="375">
                  <c:v>11.I.22</c:v>
                </c:pt>
                <c:pt idx="376">
                  <c:v>12.I.22</c:v>
                </c:pt>
                <c:pt idx="377">
                  <c:v>13.I.22</c:v>
                </c:pt>
                <c:pt idx="378">
                  <c:v>14.I.22</c:v>
                </c:pt>
                <c:pt idx="379">
                  <c:v>15.I.22</c:v>
                </c:pt>
                <c:pt idx="380">
                  <c:v>16.I.22</c:v>
                </c:pt>
                <c:pt idx="381">
                  <c:v>17.I.22</c:v>
                </c:pt>
                <c:pt idx="382">
                  <c:v>18.I.22</c:v>
                </c:pt>
                <c:pt idx="383">
                  <c:v>19.I.22</c:v>
                </c:pt>
                <c:pt idx="384">
                  <c:v>20.I.22</c:v>
                </c:pt>
                <c:pt idx="385">
                  <c:v>21.I.22</c:v>
                </c:pt>
                <c:pt idx="386">
                  <c:v>22.I.22</c:v>
                </c:pt>
                <c:pt idx="387">
                  <c:v>23.I.22</c:v>
                </c:pt>
                <c:pt idx="388">
                  <c:v>24.I.22</c:v>
                </c:pt>
                <c:pt idx="389">
                  <c:v>25.I.22</c:v>
                </c:pt>
                <c:pt idx="390">
                  <c:v>26.I.22</c:v>
                </c:pt>
                <c:pt idx="391">
                  <c:v>27.I.22</c:v>
                </c:pt>
                <c:pt idx="392">
                  <c:v>28.I.22</c:v>
                </c:pt>
              </c:strCache>
            </c:strRef>
          </c:cat>
          <c:val>
            <c:numRef>
              <c:f>List1!$J$3:$OL$3</c:f>
              <c:numCache>
                <c:formatCode>General</c:formatCode>
                <c:ptCount val="393"/>
                <c:pt idx="0">
                  <c:v>1122</c:v>
                </c:pt>
                <c:pt idx="1">
                  <c:v>2232</c:v>
                </c:pt>
                <c:pt idx="2">
                  <c:v>3369</c:v>
                </c:pt>
                <c:pt idx="3">
                  <c:v>3750</c:v>
                </c:pt>
                <c:pt idx="4">
                  <c:v>3869</c:v>
                </c:pt>
                <c:pt idx="5">
                  <c:v>4350</c:v>
                </c:pt>
                <c:pt idx="6">
                  <c:v>4668</c:v>
                </c:pt>
                <c:pt idx="7">
                  <c:v>6015</c:v>
                </c:pt>
                <c:pt idx="8">
                  <c:v>7658</c:v>
                </c:pt>
                <c:pt idx="9">
                  <c:v>9671</c:v>
                </c:pt>
                <c:pt idx="10">
                  <c:v>12226</c:v>
                </c:pt>
                <c:pt idx="11">
                  <c:v>15357</c:v>
                </c:pt>
                <c:pt idx="12">
                  <c:v>15803</c:v>
                </c:pt>
                <c:pt idx="13">
                  <c:v>16159</c:v>
                </c:pt>
                <c:pt idx="14">
                  <c:v>18960</c:v>
                </c:pt>
                <c:pt idx="15">
                  <c:v>22152</c:v>
                </c:pt>
                <c:pt idx="16">
                  <c:v>25016</c:v>
                </c:pt>
                <c:pt idx="17">
                  <c:v>28207</c:v>
                </c:pt>
                <c:pt idx="18">
                  <c:v>30989</c:v>
                </c:pt>
                <c:pt idx="19">
                  <c:v>31370</c:v>
                </c:pt>
                <c:pt idx="20">
                  <c:v>31597</c:v>
                </c:pt>
                <c:pt idx="21">
                  <c:v>33553</c:v>
                </c:pt>
                <c:pt idx="22">
                  <c:v>35242</c:v>
                </c:pt>
                <c:pt idx="23">
                  <c:v>36890</c:v>
                </c:pt>
                <c:pt idx="24">
                  <c:v>38425</c:v>
                </c:pt>
                <c:pt idx="25">
                  <c:v>39735</c:v>
                </c:pt>
                <c:pt idx="26">
                  <c:v>39892</c:v>
                </c:pt>
                <c:pt idx="27">
                  <c:v>40001</c:v>
                </c:pt>
                <c:pt idx="28">
                  <c:v>40646</c:v>
                </c:pt>
                <c:pt idx="29">
                  <c:v>41420</c:v>
                </c:pt>
                <c:pt idx="30">
                  <c:v>42074</c:v>
                </c:pt>
                <c:pt idx="31">
                  <c:v>42682</c:v>
                </c:pt>
                <c:pt idx="32">
                  <c:v>43246</c:v>
                </c:pt>
                <c:pt idx="33">
                  <c:v>43268</c:v>
                </c:pt>
                <c:pt idx="34">
                  <c:v>43286</c:v>
                </c:pt>
                <c:pt idx="35">
                  <c:v>43644</c:v>
                </c:pt>
                <c:pt idx="36">
                  <c:v>43986</c:v>
                </c:pt>
                <c:pt idx="37">
                  <c:v>44347</c:v>
                </c:pt>
                <c:pt idx="38">
                  <c:v>44677</c:v>
                </c:pt>
                <c:pt idx="39">
                  <c:v>45095</c:v>
                </c:pt>
                <c:pt idx="40">
                  <c:v>45117</c:v>
                </c:pt>
                <c:pt idx="41">
                  <c:v>45138</c:v>
                </c:pt>
                <c:pt idx="42">
                  <c:v>45407</c:v>
                </c:pt>
                <c:pt idx="43">
                  <c:v>45729</c:v>
                </c:pt>
                <c:pt idx="44">
                  <c:v>46132</c:v>
                </c:pt>
                <c:pt idx="45">
                  <c:v>46605</c:v>
                </c:pt>
                <c:pt idx="46">
                  <c:v>47137</c:v>
                </c:pt>
                <c:pt idx="47">
                  <c:v>47311</c:v>
                </c:pt>
                <c:pt idx="48">
                  <c:v>47365</c:v>
                </c:pt>
                <c:pt idx="49">
                  <c:v>47917</c:v>
                </c:pt>
                <c:pt idx="50">
                  <c:v>48405</c:v>
                </c:pt>
                <c:pt idx="51">
                  <c:v>48975</c:v>
                </c:pt>
                <c:pt idx="52">
                  <c:v>49644</c:v>
                </c:pt>
                <c:pt idx="53">
                  <c:v>50401</c:v>
                </c:pt>
                <c:pt idx="54">
                  <c:v>50529</c:v>
                </c:pt>
                <c:pt idx="55">
                  <c:v>50588</c:v>
                </c:pt>
                <c:pt idx="56">
                  <c:v>51185</c:v>
                </c:pt>
                <c:pt idx="57">
                  <c:v>52001</c:v>
                </c:pt>
                <c:pt idx="58">
                  <c:v>52825</c:v>
                </c:pt>
                <c:pt idx="59">
                  <c:v>54051</c:v>
                </c:pt>
                <c:pt idx="60">
                  <c:v>55041</c:v>
                </c:pt>
                <c:pt idx="61">
                  <c:v>55116</c:v>
                </c:pt>
                <c:pt idx="62">
                  <c:v>55164</c:v>
                </c:pt>
                <c:pt idx="63">
                  <c:v>56052</c:v>
                </c:pt>
                <c:pt idx="64">
                  <c:v>57004</c:v>
                </c:pt>
                <c:pt idx="65">
                  <c:v>57999</c:v>
                </c:pt>
                <c:pt idx="66">
                  <c:v>58909</c:v>
                </c:pt>
                <c:pt idx="67">
                  <c:v>60097</c:v>
                </c:pt>
                <c:pt idx="68">
                  <c:v>60347</c:v>
                </c:pt>
                <c:pt idx="69">
                  <c:v>60538</c:v>
                </c:pt>
                <c:pt idx="70">
                  <c:v>61316</c:v>
                </c:pt>
                <c:pt idx="71">
                  <c:v>62243</c:v>
                </c:pt>
                <c:pt idx="72">
                  <c:v>63191</c:v>
                </c:pt>
                <c:pt idx="73">
                  <c:v>64518</c:v>
                </c:pt>
                <c:pt idx="74">
                  <c:v>65622</c:v>
                </c:pt>
                <c:pt idx="75">
                  <c:v>65858</c:v>
                </c:pt>
                <c:pt idx="76">
                  <c:v>66101</c:v>
                </c:pt>
                <c:pt idx="77">
                  <c:v>66806</c:v>
                </c:pt>
                <c:pt idx="78">
                  <c:v>67847</c:v>
                </c:pt>
                <c:pt idx="79">
                  <c:v>68869</c:v>
                </c:pt>
                <c:pt idx="80">
                  <c:v>69763</c:v>
                </c:pt>
                <c:pt idx="81">
                  <c:v>70739</c:v>
                </c:pt>
                <c:pt idx="82">
                  <c:v>71099</c:v>
                </c:pt>
                <c:pt idx="83">
                  <c:v>71271</c:v>
                </c:pt>
                <c:pt idx="84">
                  <c:v>71804</c:v>
                </c:pt>
                <c:pt idx="85">
                  <c:v>72356</c:v>
                </c:pt>
                <c:pt idx="86">
                  <c:v>72862</c:v>
                </c:pt>
                <c:pt idx="87">
                  <c:v>73422</c:v>
                </c:pt>
                <c:pt idx="88">
                  <c:v>74003</c:v>
                </c:pt>
                <c:pt idx="89">
                  <c:v>74155</c:v>
                </c:pt>
                <c:pt idx="90">
                  <c:v>74322</c:v>
                </c:pt>
                <c:pt idx="91">
                  <c:v>74670</c:v>
                </c:pt>
                <c:pt idx="92">
                  <c:v>75116</c:v>
                </c:pt>
                <c:pt idx="93">
                  <c:v>75584</c:v>
                </c:pt>
                <c:pt idx="94">
                  <c:v>76038</c:v>
                </c:pt>
                <c:pt idx="95">
                  <c:v>76143</c:v>
                </c:pt>
                <c:pt idx="96">
                  <c:v>76185</c:v>
                </c:pt>
                <c:pt idx="97">
                  <c:v>76234</c:v>
                </c:pt>
                <c:pt idx="98">
                  <c:v>76270</c:v>
                </c:pt>
                <c:pt idx="99">
                  <c:v>76516</c:v>
                </c:pt>
                <c:pt idx="100">
                  <c:v>76834</c:v>
                </c:pt>
                <c:pt idx="101">
                  <c:v>77373</c:v>
                </c:pt>
                <c:pt idx="102">
                  <c:v>77947</c:v>
                </c:pt>
                <c:pt idx="103">
                  <c:v>78106</c:v>
                </c:pt>
                <c:pt idx="104">
                  <c:v>78207</c:v>
                </c:pt>
                <c:pt idx="105">
                  <c:v>78635</c:v>
                </c:pt>
                <c:pt idx="106">
                  <c:v>79014</c:v>
                </c:pt>
                <c:pt idx="107">
                  <c:v>79468</c:v>
                </c:pt>
                <c:pt idx="108">
                  <c:v>80128</c:v>
                </c:pt>
                <c:pt idx="109">
                  <c:v>80854</c:v>
                </c:pt>
                <c:pt idx="110">
                  <c:v>81058</c:v>
                </c:pt>
                <c:pt idx="111">
                  <c:v>81249</c:v>
                </c:pt>
                <c:pt idx="112">
                  <c:v>81771</c:v>
                </c:pt>
                <c:pt idx="113">
                  <c:v>82275</c:v>
                </c:pt>
                <c:pt idx="114">
                  <c:v>82934</c:v>
                </c:pt>
                <c:pt idx="115">
                  <c:v>83659</c:v>
                </c:pt>
                <c:pt idx="116">
                  <c:v>84370</c:v>
                </c:pt>
                <c:pt idx="117">
                  <c:v>84570</c:v>
                </c:pt>
                <c:pt idx="118">
                  <c:v>84758</c:v>
                </c:pt>
                <c:pt idx="119">
                  <c:v>85365</c:v>
                </c:pt>
                <c:pt idx="120">
                  <c:v>85913</c:v>
                </c:pt>
                <c:pt idx="121">
                  <c:v>86616</c:v>
                </c:pt>
                <c:pt idx="122">
                  <c:v>87373</c:v>
                </c:pt>
                <c:pt idx="123">
                  <c:v>88021</c:v>
                </c:pt>
                <c:pt idx="124">
                  <c:v>88175</c:v>
                </c:pt>
                <c:pt idx="125">
                  <c:v>88328</c:v>
                </c:pt>
                <c:pt idx="126">
                  <c:v>88837</c:v>
                </c:pt>
                <c:pt idx="127">
                  <c:v>89359</c:v>
                </c:pt>
                <c:pt idx="128">
                  <c:v>89884</c:v>
                </c:pt>
                <c:pt idx="129">
                  <c:v>90432</c:v>
                </c:pt>
                <c:pt idx="130">
                  <c:v>91004</c:v>
                </c:pt>
                <c:pt idx="131">
                  <c:v>91221</c:v>
                </c:pt>
                <c:pt idx="132">
                  <c:v>91328</c:v>
                </c:pt>
                <c:pt idx="133">
                  <c:v>91726</c:v>
                </c:pt>
                <c:pt idx="134">
                  <c:v>92205</c:v>
                </c:pt>
                <c:pt idx="135">
                  <c:v>92638</c:v>
                </c:pt>
                <c:pt idx="136">
                  <c:v>93073</c:v>
                </c:pt>
                <c:pt idx="137">
                  <c:v>93440</c:v>
                </c:pt>
                <c:pt idx="138">
                  <c:v>93602</c:v>
                </c:pt>
                <c:pt idx="139">
                  <c:v>93706</c:v>
                </c:pt>
                <c:pt idx="140">
                  <c:v>94023</c:v>
                </c:pt>
                <c:pt idx="141">
                  <c:v>94396</c:v>
                </c:pt>
                <c:pt idx="142">
                  <c:v>94757</c:v>
                </c:pt>
                <c:pt idx="143">
                  <c:v>95150</c:v>
                </c:pt>
                <c:pt idx="144">
                  <c:v>95515</c:v>
                </c:pt>
                <c:pt idx="145">
                  <c:v>95660</c:v>
                </c:pt>
                <c:pt idx="146">
                  <c:v>95758</c:v>
                </c:pt>
                <c:pt idx="147">
                  <c:v>95973</c:v>
                </c:pt>
                <c:pt idx="148">
                  <c:v>96212</c:v>
                </c:pt>
                <c:pt idx="149">
                  <c:v>96564</c:v>
                </c:pt>
                <c:pt idx="150">
                  <c:v>96893</c:v>
                </c:pt>
                <c:pt idx="151">
                  <c:v>97178</c:v>
                </c:pt>
                <c:pt idx="152">
                  <c:v>97321</c:v>
                </c:pt>
                <c:pt idx="153">
                  <c:v>97412</c:v>
                </c:pt>
                <c:pt idx="154">
                  <c:v>97689</c:v>
                </c:pt>
                <c:pt idx="155">
                  <c:v>97960</c:v>
                </c:pt>
                <c:pt idx="156">
                  <c:v>98304</c:v>
                </c:pt>
                <c:pt idx="157">
                  <c:v>98657</c:v>
                </c:pt>
                <c:pt idx="158">
                  <c:v>98982</c:v>
                </c:pt>
                <c:pt idx="159">
                  <c:v>99119</c:v>
                </c:pt>
                <c:pt idx="160">
                  <c:v>99249</c:v>
                </c:pt>
                <c:pt idx="161">
                  <c:v>99586</c:v>
                </c:pt>
                <c:pt idx="162">
                  <c:v>99926</c:v>
                </c:pt>
                <c:pt idx="163">
                  <c:v>100276</c:v>
                </c:pt>
                <c:pt idx="164">
                  <c:v>100637</c:v>
                </c:pt>
                <c:pt idx="165">
                  <c:v>100938</c:v>
                </c:pt>
                <c:pt idx="166">
                  <c:v>101146</c:v>
                </c:pt>
                <c:pt idx="167">
                  <c:v>101263</c:v>
                </c:pt>
                <c:pt idx="168">
                  <c:v>101507</c:v>
                </c:pt>
                <c:pt idx="169">
                  <c:v>101781</c:v>
                </c:pt>
                <c:pt idx="170">
                  <c:v>102022</c:v>
                </c:pt>
                <c:pt idx="171">
                  <c:v>102293</c:v>
                </c:pt>
                <c:pt idx="172">
                  <c:v>102510</c:v>
                </c:pt>
                <c:pt idx="173">
                  <c:v>102628</c:v>
                </c:pt>
                <c:pt idx="174">
                  <c:v>102722</c:v>
                </c:pt>
                <c:pt idx="175">
                  <c:v>102900</c:v>
                </c:pt>
                <c:pt idx="176">
                  <c:v>103121</c:v>
                </c:pt>
                <c:pt idx="177">
                  <c:v>103310</c:v>
                </c:pt>
                <c:pt idx="178">
                  <c:v>103471</c:v>
                </c:pt>
                <c:pt idx="179">
                  <c:v>103657</c:v>
                </c:pt>
                <c:pt idx="180">
                  <c:v>103748</c:v>
                </c:pt>
                <c:pt idx="181">
                  <c:v>103816</c:v>
                </c:pt>
                <c:pt idx="182">
                  <c:v>103997</c:v>
                </c:pt>
                <c:pt idx="183">
                  <c:v>104165</c:v>
                </c:pt>
                <c:pt idx="184">
                  <c:v>104346</c:v>
                </c:pt>
                <c:pt idx="185">
                  <c:v>104487</c:v>
                </c:pt>
                <c:pt idx="186">
                  <c:v>104680</c:v>
                </c:pt>
                <c:pt idx="187">
                  <c:v>104714</c:v>
                </c:pt>
                <c:pt idx="188">
                  <c:v>104759</c:v>
                </c:pt>
                <c:pt idx="189">
                  <c:v>104808</c:v>
                </c:pt>
                <c:pt idx="190">
                  <c:v>104840</c:v>
                </c:pt>
                <c:pt idx="191">
                  <c:v>105004</c:v>
                </c:pt>
                <c:pt idx="192">
                  <c:v>105182</c:v>
                </c:pt>
                <c:pt idx="193">
                  <c:v>105355</c:v>
                </c:pt>
                <c:pt idx="194">
                  <c:v>105415</c:v>
                </c:pt>
                <c:pt idx="195">
                  <c:v>105464</c:v>
                </c:pt>
                <c:pt idx="196">
                  <c:v>105626</c:v>
                </c:pt>
                <c:pt idx="197">
                  <c:v>105811</c:v>
                </c:pt>
                <c:pt idx="198">
                  <c:v>106014</c:v>
                </c:pt>
                <c:pt idx="199">
                  <c:v>106205</c:v>
                </c:pt>
                <c:pt idx="200">
                  <c:v>106388</c:v>
                </c:pt>
                <c:pt idx="201">
                  <c:v>106438</c:v>
                </c:pt>
                <c:pt idx="202">
                  <c:v>106496</c:v>
                </c:pt>
                <c:pt idx="203">
                  <c:v>106666</c:v>
                </c:pt>
                <c:pt idx="204">
                  <c:v>106815</c:v>
                </c:pt>
                <c:pt idx="205">
                  <c:v>106995</c:v>
                </c:pt>
                <c:pt idx="206">
                  <c:v>107173</c:v>
                </c:pt>
                <c:pt idx="207">
                  <c:v>107320</c:v>
                </c:pt>
                <c:pt idx="208">
                  <c:v>107364</c:v>
                </c:pt>
                <c:pt idx="209">
                  <c:v>107390</c:v>
                </c:pt>
                <c:pt idx="210">
                  <c:v>107558</c:v>
                </c:pt>
                <c:pt idx="211">
                  <c:v>107728</c:v>
                </c:pt>
                <c:pt idx="212">
                  <c:v>107879</c:v>
                </c:pt>
                <c:pt idx="213">
                  <c:v>108028</c:v>
                </c:pt>
                <c:pt idx="214">
                  <c:v>108193</c:v>
                </c:pt>
                <c:pt idx="215">
                  <c:v>108232</c:v>
                </c:pt>
                <c:pt idx="216">
                  <c:v>108272</c:v>
                </c:pt>
                <c:pt idx="217">
                  <c:v>108371</c:v>
                </c:pt>
                <c:pt idx="218">
                  <c:v>108483</c:v>
                </c:pt>
                <c:pt idx="219">
                  <c:v>108612</c:v>
                </c:pt>
                <c:pt idx="220">
                  <c:v>108721</c:v>
                </c:pt>
                <c:pt idx="221">
                  <c:v>108840</c:v>
                </c:pt>
                <c:pt idx="222">
                  <c:v>108862</c:v>
                </c:pt>
                <c:pt idx="223">
                  <c:v>108887</c:v>
                </c:pt>
                <c:pt idx="224">
                  <c:v>108972</c:v>
                </c:pt>
                <c:pt idx="225">
                  <c:v>109051</c:v>
                </c:pt>
                <c:pt idx="226">
                  <c:v>109121</c:v>
                </c:pt>
                <c:pt idx="227">
                  <c:v>109227</c:v>
                </c:pt>
                <c:pt idx="228">
                  <c:v>109290</c:v>
                </c:pt>
                <c:pt idx="229">
                  <c:v>109311</c:v>
                </c:pt>
                <c:pt idx="230">
                  <c:v>109333</c:v>
                </c:pt>
                <c:pt idx="231">
                  <c:v>109416</c:v>
                </c:pt>
                <c:pt idx="232">
                  <c:v>109495</c:v>
                </c:pt>
                <c:pt idx="233">
                  <c:v>109557</c:v>
                </c:pt>
                <c:pt idx="234">
                  <c:v>109627</c:v>
                </c:pt>
                <c:pt idx="235">
                  <c:v>109742</c:v>
                </c:pt>
                <c:pt idx="236">
                  <c:v>109756</c:v>
                </c:pt>
                <c:pt idx="237">
                  <c:v>109767</c:v>
                </c:pt>
                <c:pt idx="238">
                  <c:v>109863</c:v>
                </c:pt>
                <c:pt idx="239">
                  <c:v>109951</c:v>
                </c:pt>
                <c:pt idx="240">
                  <c:v>110018</c:v>
                </c:pt>
                <c:pt idx="241">
                  <c:v>110090</c:v>
                </c:pt>
                <c:pt idx="242">
                  <c:v>110178</c:v>
                </c:pt>
                <c:pt idx="243">
                  <c:v>110194</c:v>
                </c:pt>
                <c:pt idx="244">
                  <c:v>110210</c:v>
                </c:pt>
                <c:pt idx="245">
                  <c:v>110282</c:v>
                </c:pt>
                <c:pt idx="246">
                  <c:v>110343</c:v>
                </c:pt>
                <c:pt idx="247">
                  <c:v>110399</c:v>
                </c:pt>
                <c:pt idx="248">
                  <c:v>110472</c:v>
                </c:pt>
                <c:pt idx="249">
                  <c:v>110548</c:v>
                </c:pt>
                <c:pt idx="250">
                  <c:v>110560</c:v>
                </c:pt>
                <c:pt idx="251">
                  <c:v>110570</c:v>
                </c:pt>
                <c:pt idx="252">
                  <c:v>110629</c:v>
                </c:pt>
                <c:pt idx="253">
                  <c:v>110671</c:v>
                </c:pt>
                <c:pt idx="254">
                  <c:v>110722</c:v>
                </c:pt>
                <c:pt idx="255">
                  <c:v>110778</c:v>
                </c:pt>
                <c:pt idx="256">
                  <c:v>110829</c:v>
                </c:pt>
                <c:pt idx="257">
                  <c:v>110846</c:v>
                </c:pt>
                <c:pt idx="258">
                  <c:v>110853</c:v>
                </c:pt>
                <c:pt idx="259">
                  <c:v>110897</c:v>
                </c:pt>
                <c:pt idx="260">
                  <c:v>110959</c:v>
                </c:pt>
                <c:pt idx="261">
                  <c:v>111007</c:v>
                </c:pt>
                <c:pt idx="262">
                  <c:v>111064</c:v>
                </c:pt>
                <c:pt idx="263">
                  <c:v>111131</c:v>
                </c:pt>
                <c:pt idx="264">
                  <c:v>111148</c:v>
                </c:pt>
                <c:pt idx="265">
                  <c:v>111155</c:v>
                </c:pt>
                <c:pt idx="266">
                  <c:v>111193</c:v>
                </c:pt>
                <c:pt idx="267">
                  <c:v>111242</c:v>
                </c:pt>
                <c:pt idx="268">
                  <c:v>111285</c:v>
                </c:pt>
                <c:pt idx="269">
                  <c:v>111338</c:v>
                </c:pt>
                <c:pt idx="270">
                  <c:v>111410</c:v>
                </c:pt>
                <c:pt idx="271">
                  <c:v>111420</c:v>
                </c:pt>
                <c:pt idx="272">
                  <c:v>111424</c:v>
                </c:pt>
                <c:pt idx="273">
                  <c:v>111467</c:v>
                </c:pt>
                <c:pt idx="274">
                  <c:v>111469</c:v>
                </c:pt>
                <c:pt idx="275">
                  <c:v>111510</c:v>
                </c:pt>
                <c:pt idx="276">
                  <c:v>111549</c:v>
                </c:pt>
                <c:pt idx="277">
                  <c:v>111583</c:v>
                </c:pt>
                <c:pt idx="278">
                  <c:v>111590</c:v>
                </c:pt>
                <c:pt idx="279">
                  <c:v>111597</c:v>
                </c:pt>
                <c:pt idx="280">
                  <c:v>111625</c:v>
                </c:pt>
                <c:pt idx="281">
                  <c:v>111672</c:v>
                </c:pt>
                <c:pt idx="282">
                  <c:v>111721</c:v>
                </c:pt>
                <c:pt idx="283">
                  <c:v>111749</c:v>
                </c:pt>
                <c:pt idx="284">
                  <c:v>111799</c:v>
                </c:pt>
                <c:pt idx="285">
                  <c:v>111809</c:v>
                </c:pt>
                <c:pt idx="286">
                  <c:v>111814</c:v>
                </c:pt>
                <c:pt idx="287">
                  <c:v>111844</c:v>
                </c:pt>
                <c:pt idx="288">
                  <c:v>111865</c:v>
                </c:pt>
                <c:pt idx="289">
                  <c:v>111902</c:v>
                </c:pt>
                <c:pt idx="290">
                  <c:v>111932</c:v>
                </c:pt>
                <c:pt idx="291">
                  <c:v>111977</c:v>
                </c:pt>
                <c:pt idx="292">
                  <c:v>111989</c:v>
                </c:pt>
                <c:pt idx="293">
                  <c:v>112006</c:v>
                </c:pt>
                <c:pt idx="294">
                  <c:v>112058</c:v>
                </c:pt>
                <c:pt idx="295">
                  <c:v>112114</c:v>
                </c:pt>
                <c:pt idx="296">
                  <c:v>112173</c:v>
                </c:pt>
                <c:pt idx="297">
                  <c:v>112287</c:v>
                </c:pt>
                <c:pt idx="298">
                  <c:v>112411</c:v>
                </c:pt>
                <c:pt idx="299">
                  <c:v>112437</c:v>
                </c:pt>
                <c:pt idx="300">
                  <c:v>112461</c:v>
                </c:pt>
                <c:pt idx="301">
                  <c:v>112585</c:v>
                </c:pt>
                <c:pt idx="302">
                  <c:v>112753</c:v>
                </c:pt>
                <c:pt idx="303">
                  <c:v>112954</c:v>
                </c:pt>
                <c:pt idx="304">
                  <c:v>112990</c:v>
                </c:pt>
                <c:pt idx="305">
                  <c:v>113154</c:v>
                </c:pt>
                <c:pt idx="306">
                  <c:v>113200</c:v>
                </c:pt>
                <c:pt idx="307">
                  <c:v>113232</c:v>
                </c:pt>
                <c:pt idx="308">
                  <c:v>113401</c:v>
                </c:pt>
                <c:pt idx="309">
                  <c:v>113602</c:v>
                </c:pt>
                <c:pt idx="310">
                  <c:v>113792</c:v>
                </c:pt>
                <c:pt idx="311">
                  <c:v>114025</c:v>
                </c:pt>
                <c:pt idx="312">
                  <c:v>114272</c:v>
                </c:pt>
                <c:pt idx="313">
                  <c:v>114330</c:v>
                </c:pt>
                <c:pt idx="314">
                  <c:v>114368</c:v>
                </c:pt>
                <c:pt idx="315">
                  <c:v>114554</c:v>
                </c:pt>
                <c:pt idx="316">
                  <c:v>114709</c:v>
                </c:pt>
                <c:pt idx="317">
                  <c:v>114897</c:v>
                </c:pt>
                <c:pt idx="318">
                  <c:v>115074</c:v>
                </c:pt>
                <c:pt idx="319">
                  <c:v>115279</c:v>
                </c:pt>
                <c:pt idx="320">
                  <c:v>115338</c:v>
                </c:pt>
                <c:pt idx="321">
                  <c:v>115377</c:v>
                </c:pt>
                <c:pt idx="322">
                  <c:v>115567</c:v>
                </c:pt>
                <c:pt idx="323">
                  <c:v>115771</c:v>
                </c:pt>
                <c:pt idx="324">
                  <c:v>115821</c:v>
                </c:pt>
                <c:pt idx="325">
                  <c:v>116045</c:v>
                </c:pt>
                <c:pt idx="326">
                  <c:v>116322</c:v>
                </c:pt>
                <c:pt idx="327">
                  <c:v>116413</c:v>
                </c:pt>
                <c:pt idx="328">
                  <c:v>116480</c:v>
                </c:pt>
                <c:pt idx="329">
                  <c:v>116666</c:v>
                </c:pt>
                <c:pt idx="330">
                  <c:v>116845</c:v>
                </c:pt>
                <c:pt idx="331">
                  <c:v>117071</c:v>
                </c:pt>
                <c:pt idx="332">
                  <c:v>117286</c:v>
                </c:pt>
                <c:pt idx="333">
                  <c:v>117524</c:v>
                </c:pt>
                <c:pt idx="334">
                  <c:v>117586</c:v>
                </c:pt>
                <c:pt idx="335">
                  <c:v>117609</c:v>
                </c:pt>
                <c:pt idx="336">
                  <c:v>117759</c:v>
                </c:pt>
                <c:pt idx="337">
                  <c:v>117919</c:v>
                </c:pt>
                <c:pt idx="338">
                  <c:v>118074</c:v>
                </c:pt>
                <c:pt idx="339">
                  <c:v>118190</c:v>
                </c:pt>
                <c:pt idx="340">
                  <c:v>118304</c:v>
                </c:pt>
                <c:pt idx="341">
                  <c:v>118331</c:v>
                </c:pt>
                <c:pt idx="342">
                  <c:v>118342</c:v>
                </c:pt>
                <c:pt idx="343">
                  <c:v>118442</c:v>
                </c:pt>
                <c:pt idx="344">
                  <c:v>118526</c:v>
                </c:pt>
                <c:pt idx="345">
                  <c:v>118626</c:v>
                </c:pt>
                <c:pt idx="346">
                  <c:v>118701</c:v>
                </c:pt>
                <c:pt idx="347">
                  <c:v>118783</c:v>
                </c:pt>
                <c:pt idx="348">
                  <c:v>118797</c:v>
                </c:pt>
                <c:pt idx="349">
                  <c:v>118808</c:v>
                </c:pt>
                <c:pt idx="350">
                  <c:v>118894</c:v>
                </c:pt>
                <c:pt idx="351">
                  <c:v>118956</c:v>
                </c:pt>
                <c:pt idx="352">
                  <c:v>119036</c:v>
                </c:pt>
                <c:pt idx="353">
                  <c:v>119117</c:v>
                </c:pt>
                <c:pt idx="354">
                  <c:v>119201</c:v>
                </c:pt>
                <c:pt idx="355">
                  <c:v>119226</c:v>
                </c:pt>
                <c:pt idx="356">
                  <c:v>119230</c:v>
                </c:pt>
                <c:pt idx="357">
                  <c:v>119287</c:v>
                </c:pt>
                <c:pt idx="358">
                  <c:v>119327</c:v>
                </c:pt>
                <c:pt idx="359">
                  <c:v>119366</c:v>
                </c:pt>
                <c:pt idx="360">
                  <c:v>119386</c:v>
                </c:pt>
                <c:pt idx="361">
                  <c:v>119413</c:v>
                </c:pt>
                <c:pt idx="362">
                  <c:v>119448</c:v>
                </c:pt>
                <c:pt idx="363">
                  <c:v>119487</c:v>
                </c:pt>
                <c:pt idx="364">
                  <c:v>119521</c:v>
                </c:pt>
                <c:pt idx="365">
                  <c:v>119524</c:v>
                </c:pt>
                <c:pt idx="366">
                  <c:v>119527</c:v>
                </c:pt>
                <c:pt idx="367">
                  <c:v>119571</c:v>
                </c:pt>
                <c:pt idx="368">
                  <c:v>119603</c:v>
                </c:pt>
                <c:pt idx="369">
                  <c:v>119662</c:v>
                </c:pt>
                <c:pt idx="370">
                  <c:v>119716</c:v>
                </c:pt>
                <c:pt idx="371">
                  <c:v>119802</c:v>
                </c:pt>
                <c:pt idx="372">
                  <c:v>119810</c:v>
                </c:pt>
                <c:pt idx="373">
                  <c:v>119815</c:v>
                </c:pt>
                <c:pt idx="374">
                  <c:v>119855</c:v>
                </c:pt>
                <c:pt idx="375">
                  <c:v>119907</c:v>
                </c:pt>
                <c:pt idx="376">
                  <c:v>119954</c:v>
                </c:pt>
                <c:pt idx="377">
                  <c:v>120014</c:v>
                </c:pt>
                <c:pt idx="378">
                  <c:v>120097</c:v>
                </c:pt>
                <c:pt idx="379">
                  <c:v>120112</c:v>
                </c:pt>
                <c:pt idx="380">
                  <c:v>120118</c:v>
                </c:pt>
                <c:pt idx="381">
                  <c:v>120164</c:v>
                </c:pt>
                <c:pt idx="382">
                  <c:v>120219</c:v>
                </c:pt>
                <c:pt idx="383">
                  <c:v>120258</c:v>
                </c:pt>
                <c:pt idx="384">
                  <c:v>120287</c:v>
                </c:pt>
                <c:pt idx="385">
                  <c:v>120324</c:v>
                </c:pt>
                <c:pt idx="386">
                  <c:v>120327</c:v>
                </c:pt>
                <c:pt idx="387">
                  <c:v>120330</c:v>
                </c:pt>
                <c:pt idx="388">
                  <c:v>120345</c:v>
                </c:pt>
                <c:pt idx="389">
                  <c:v>120363</c:v>
                </c:pt>
                <c:pt idx="390">
                  <c:v>120379</c:v>
                </c:pt>
                <c:pt idx="391">
                  <c:v>120397</c:v>
                </c:pt>
                <c:pt idx="392">
                  <c:v>1204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9B2-46E3-85FE-A83BCF6CC08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P</c:v>
                </c:pt>
              </c:strCache>
            </c:strRef>
          </c:tx>
          <c:spPr>
            <a:ln w="28575" cap="rnd">
              <a:solidFill>
                <a:srgbClr val="A6A6A6"/>
              </a:solidFill>
              <a:round/>
            </a:ln>
            <a:effectLst/>
          </c:spPr>
          <c:marker>
            <c:symbol val="none"/>
          </c:marker>
          <c:cat>
            <c:strRef>
              <c:f>List1!$J$1:$OL$1</c:f>
              <c:strCache>
                <c:ptCount val="393"/>
                <c:pt idx="0">
                  <c:v>28.XII.20</c:v>
                </c:pt>
                <c:pt idx="1">
                  <c:v>29.XII.20</c:v>
                </c:pt>
                <c:pt idx="2">
                  <c:v>30.XII.20</c:v>
                </c:pt>
                <c:pt idx="3">
                  <c:v>31.XII.20</c:v>
                </c:pt>
                <c:pt idx="4">
                  <c:v>1.I.21</c:v>
                </c:pt>
                <c:pt idx="5">
                  <c:v>2.I.21</c:v>
                </c:pt>
                <c:pt idx="6">
                  <c:v>3.I.21</c:v>
                </c:pt>
                <c:pt idx="7">
                  <c:v>4.I.21</c:v>
                </c:pt>
                <c:pt idx="8">
                  <c:v>5.I.21</c:v>
                </c:pt>
                <c:pt idx="9">
                  <c:v>6.I.21</c:v>
                </c:pt>
                <c:pt idx="10">
                  <c:v>7.I.21</c:v>
                </c:pt>
                <c:pt idx="11">
                  <c:v>8.I.21</c:v>
                </c:pt>
                <c:pt idx="12">
                  <c:v>9.I.21</c:v>
                </c:pt>
                <c:pt idx="13">
                  <c:v>10.I.21</c:v>
                </c:pt>
                <c:pt idx="14">
                  <c:v>11.I.21</c:v>
                </c:pt>
                <c:pt idx="15">
                  <c:v>12.I.21</c:v>
                </c:pt>
                <c:pt idx="16">
                  <c:v>13.I.21</c:v>
                </c:pt>
                <c:pt idx="17">
                  <c:v>14.I.21</c:v>
                </c:pt>
                <c:pt idx="18">
                  <c:v>15.I.21</c:v>
                </c:pt>
                <c:pt idx="19">
                  <c:v>16.I.21</c:v>
                </c:pt>
                <c:pt idx="20">
                  <c:v>17.I.21</c:v>
                </c:pt>
                <c:pt idx="21">
                  <c:v>18.I.21</c:v>
                </c:pt>
                <c:pt idx="22">
                  <c:v>19.I.21</c:v>
                </c:pt>
                <c:pt idx="23">
                  <c:v>20.I.21</c:v>
                </c:pt>
                <c:pt idx="24">
                  <c:v>21.I.21</c:v>
                </c:pt>
                <c:pt idx="25">
                  <c:v>22.I.21</c:v>
                </c:pt>
                <c:pt idx="26">
                  <c:v>23.I.21</c:v>
                </c:pt>
                <c:pt idx="27">
                  <c:v>24.I.21</c:v>
                </c:pt>
                <c:pt idx="28">
                  <c:v>25.I.21</c:v>
                </c:pt>
                <c:pt idx="29">
                  <c:v>26.I.21</c:v>
                </c:pt>
                <c:pt idx="30">
                  <c:v>27.I.21</c:v>
                </c:pt>
                <c:pt idx="31">
                  <c:v>28.I.21</c:v>
                </c:pt>
                <c:pt idx="32">
                  <c:v>29.I.21</c:v>
                </c:pt>
                <c:pt idx="33">
                  <c:v>30.I.21</c:v>
                </c:pt>
                <c:pt idx="34">
                  <c:v>31.I.21</c:v>
                </c:pt>
                <c:pt idx="35">
                  <c:v>1.II.21</c:v>
                </c:pt>
                <c:pt idx="36">
                  <c:v>2.II.21</c:v>
                </c:pt>
                <c:pt idx="37">
                  <c:v>3.II.21</c:v>
                </c:pt>
                <c:pt idx="38">
                  <c:v>4.II.21</c:v>
                </c:pt>
                <c:pt idx="39">
                  <c:v>5.II.21</c:v>
                </c:pt>
                <c:pt idx="40">
                  <c:v>6.II.21</c:v>
                </c:pt>
                <c:pt idx="41">
                  <c:v>7.II.21</c:v>
                </c:pt>
                <c:pt idx="42">
                  <c:v>8.II.21</c:v>
                </c:pt>
                <c:pt idx="43">
                  <c:v>9.II.21</c:v>
                </c:pt>
                <c:pt idx="44">
                  <c:v>10.II.21</c:v>
                </c:pt>
                <c:pt idx="45">
                  <c:v>11.II.21</c:v>
                </c:pt>
                <c:pt idx="46">
                  <c:v>12.II.21</c:v>
                </c:pt>
                <c:pt idx="47">
                  <c:v>13.II.21</c:v>
                </c:pt>
                <c:pt idx="48">
                  <c:v>14.II.21</c:v>
                </c:pt>
                <c:pt idx="49">
                  <c:v>15.II.21</c:v>
                </c:pt>
                <c:pt idx="50">
                  <c:v>16.II.21</c:v>
                </c:pt>
                <c:pt idx="51">
                  <c:v>17.II.21</c:v>
                </c:pt>
                <c:pt idx="52">
                  <c:v>18.II.21</c:v>
                </c:pt>
                <c:pt idx="53">
                  <c:v>19.II.21</c:v>
                </c:pt>
                <c:pt idx="54">
                  <c:v>20.II.21</c:v>
                </c:pt>
                <c:pt idx="55">
                  <c:v>21.II.21</c:v>
                </c:pt>
                <c:pt idx="56">
                  <c:v>22.II.21</c:v>
                </c:pt>
                <c:pt idx="57">
                  <c:v>23.II.21</c:v>
                </c:pt>
                <c:pt idx="58">
                  <c:v>24.II.21</c:v>
                </c:pt>
                <c:pt idx="59">
                  <c:v>25.II.21</c:v>
                </c:pt>
                <c:pt idx="60">
                  <c:v>26.II.21</c:v>
                </c:pt>
                <c:pt idx="61">
                  <c:v>27.II.21</c:v>
                </c:pt>
                <c:pt idx="62">
                  <c:v>28.II.21</c:v>
                </c:pt>
                <c:pt idx="63">
                  <c:v>1.III.21</c:v>
                </c:pt>
                <c:pt idx="64">
                  <c:v>2.III.21</c:v>
                </c:pt>
                <c:pt idx="65">
                  <c:v>3.III.21</c:v>
                </c:pt>
                <c:pt idx="66">
                  <c:v>4.III.21</c:v>
                </c:pt>
                <c:pt idx="67">
                  <c:v>5.III.21</c:v>
                </c:pt>
                <c:pt idx="68">
                  <c:v>6.III.21</c:v>
                </c:pt>
                <c:pt idx="69">
                  <c:v>7.III.21</c:v>
                </c:pt>
                <c:pt idx="70">
                  <c:v>8.III.21</c:v>
                </c:pt>
                <c:pt idx="71">
                  <c:v>9.III.21</c:v>
                </c:pt>
                <c:pt idx="72">
                  <c:v>10.III.21</c:v>
                </c:pt>
                <c:pt idx="73">
                  <c:v>11.III.21</c:v>
                </c:pt>
                <c:pt idx="74">
                  <c:v>12.III.21</c:v>
                </c:pt>
                <c:pt idx="75">
                  <c:v>13.III.21</c:v>
                </c:pt>
                <c:pt idx="76">
                  <c:v>14.III.21</c:v>
                </c:pt>
                <c:pt idx="77">
                  <c:v>15.III.21</c:v>
                </c:pt>
                <c:pt idx="78">
                  <c:v>16.III.21</c:v>
                </c:pt>
                <c:pt idx="79">
                  <c:v>17.III.21</c:v>
                </c:pt>
                <c:pt idx="80">
                  <c:v>18.III.21</c:v>
                </c:pt>
                <c:pt idx="81">
                  <c:v>19.III.21</c:v>
                </c:pt>
                <c:pt idx="82">
                  <c:v>20.III.21</c:v>
                </c:pt>
                <c:pt idx="83">
                  <c:v>21.III.21</c:v>
                </c:pt>
                <c:pt idx="84">
                  <c:v>22.III.21</c:v>
                </c:pt>
                <c:pt idx="85">
                  <c:v>23.III.21</c:v>
                </c:pt>
                <c:pt idx="86">
                  <c:v>24.III.21</c:v>
                </c:pt>
                <c:pt idx="87">
                  <c:v>25.III.21</c:v>
                </c:pt>
                <c:pt idx="88">
                  <c:v>26.III.21</c:v>
                </c:pt>
                <c:pt idx="89">
                  <c:v>27.III.21</c:v>
                </c:pt>
                <c:pt idx="90">
                  <c:v>28.III.21</c:v>
                </c:pt>
                <c:pt idx="91">
                  <c:v>29.III.21</c:v>
                </c:pt>
                <c:pt idx="92">
                  <c:v>30.III.21</c:v>
                </c:pt>
                <c:pt idx="93">
                  <c:v>31.III.21</c:v>
                </c:pt>
                <c:pt idx="94">
                  <c:v>1.IV.21</c:v>
                </c:pt>
                <c:pt idx="95">
                  <c:v>2.IV.21</c:v>
                </c:pt>
                <c:pt idx="96">
                  <c:v>3.IV.21</c:v>
                </c:pt>
                <c:pt idx="97">
                  <c:v>4.IV.21</c:v>
                </c:pt>
                <c:pt idx="98">
                  <c:v>5.IV.21</c:v>
                </c:pt>
                <c:pt idx="99">
                  <c:v>6.IV.21</c:v>
                </c:pt>
                <c:pt idx="100">
                  <c:v>7.IV.21</c:v>
                </c:pt>
                <c:pt idx="101">
                  <c:v>8.IV.21</c:v>
                </c:pt>
                <c:pt idx="102">
                  <c:v>9.IV.21</c:v>
                </c:pt>
                <c:pt idx="103">
                  <c:v>10.IV.21</c:v>
                </c:pt>
                <c:pt idx="104">
                  <c:v>11.IV.21</c:v>
                </c:pt>
                <c:pt idx="105">
                  <c:v>12.IV.21</c:v>
                </c:pt>
                <c:pt idx="106">
                  <c:v>13.IV.21</c:v>
                </c:pt>
                <c:pt idx="107">
                  <c:v>14.IV.21</c:v>
                </c:pt>
                <c:pt idx="108">
                  <c:v>15.IV.21</c:v>
                </c:pt>
                <c:pt idx="109">
                  <c:v>16.IV.21</c:v>
                </c:pt>
                <c:pt idx="110">
                  <c:v>17.IV.21</c:v>
                </c:pt>
                <c:pt idx="111">
                  <c:v>18.IV.21</c:v>
                </c:pt>
                <c:pt idx="112">
                  <c:v>19.IV.21</c:v>
                </c:pt>
                <c:pt idx="113">
                  <c:v>20.IV.21</c:v>
                </c:pt>
                <c:pt idx="114">
                  <c:v>21.IV.21</c:v>
                </c:pt>
                <c:pt idx="115">
                  <c:v>22.IV.21</c:v>
                </c:pt>
                <c:pt idx="116">
                  <c:v>23.IV.21</c:v>
                </c:pt>
                <c:pt idx="117">
                  <c:v>24.IV.21</c:v>
                </c:pt>
                <c:pt idx="118">
                  <c:v>25.IV.21</c:v>
                </c:pt>
                <c:pt idx="119">
                  <c:v>26.IV.21</c:v>
                </c:pt>
                <c:pt idx="120">
                  <c:v>27.IV.21</c:v>
                </c:pt>
                <c:pt idx="121">
                  <c:v>28.IV.21</c:v>
                </c:pt>
                <c:pt idx="122">
                  <c:v>29.IV.21</c:v>
                </c:pt>
                <c:pt idx="123">
                  <c:v>30.IV.21</c:v>
                </c:pt>
                <c:pt idx="124">
                  <c:v>1.V.21</c:v>
                </c:pt>
                <c:pt idx="125">
                  <c:v>2.V.21</c:v>
                </c:pt>
                <c:pt idx="126">
                  <c:v>3.V.21</c:v>
                </c:pt>
                <c:pt idx="127">
                  <c:v>4.V.21</c:v>
                </c:pt>
                <c:pt idx="128">
                  <c:v>5.V.21</c:v>
                </c:pt>
                <c:pt idx="129">
                  <c:v>6.V.21</c:v>
                </c:pt>
                <c:pt idx="130">
                  <c:v>7.V.21</c:v>
                </c:pt>
                <c:pt idx="131">
                  <c:v>8.V.21</c:v>
                </c:pt>
                <c:pt idx="132">
                  <c:v>9.V.21</c:v>
                </c:pt>
                <c:pt idx="133">
                  <c:v>10.V.21</c:v>
                </c:pt>
                <c:pt idx="134">
                  <c:v>11.V.21</c:v>
                </c:pt>
                <c:pt idx="135">
                  <c:v>12.V.21</c:v>
                </c:pt>
                <c:pt idx="136">
                  <c:v>13.V.21</c:v>
                </c:pt>
                <c:pt idx="137">
                  <c:v>14.V.21</c:v>
                </c:pt>
                <c:pt idx="138">
                  <c:v>15.V.21</c:v>
                </c:pt>
                <c:pt idx="139">
                  <c:v>16.V.21</c:v>
                </c:pt>
                <c:pt idx="140">
                  <c:v>17.V.21</c:v>
                </c:pt>
                <c:pt idx="141">
                  <c:v>18.V.21</c:v>
                </c:pt>
                <c:pt idx="142">
                  <c:v>19.V.21</c:v>
                </c:pt>
                <c:pt idx="143">
                  <c:v>20.V.21</c:v>
                </c:pt>
                <c:pt idx="144">
                  <c:v>21.V.21</c:v>
                </c:pt>
                <c:pt idx="145">
                  <c:v>22.V.21</c:v>
                </c:pt>
                <c:pt idx="146">
                  <c:v>23.V.21</c:v>
                </c:pt>
                <c:pt idx="147">
                  <c:v>24.V.21</c:v>
                </c:pt>
                <c:pt idx="148">
                  <c:v>25.V.21</c:v>
                </c:pt>
                <c:pt idx="149">
                  <c:v>26.V.21</c:v>
                </c:pt>
                <c:pt idx="150">
                  <c:v>27.V.21</c:v>
                </c:pt>
                <c:pt idx="151">
                  <c:v>28.V.21</c:v>
                </c:pt>
                <c:pt idx="152">
                  <c:v>29.V.21</c:v>
                </c:pt>
                <c:pt idx="153">
                  <c:v>30.V.21</c:v>
                </c:pt>
                <c:pt idx="154">
                  <c:v>31.V.21</c:v>
                </c:pt>
                <c:pt idx="155">
                  <c:v>1.VI.21</c:v>
                </c:pt>
                <c:pt idx="156">
                  <c:v>2.VI.21</c:v>
                </c:pt>
                <c:pt idx="157">
                  <c:v>3.VI.21</c:v>
                </c:pt>
                <c:pt idx="158">
                  <c:v>4.VI.21</c:v>
                </c:pt>
                <c:pt idx="159">
                  <c:v>5.VI.21</c:v>
                </c:pt>
                <c:pt idx="160">
                  <c:v>6.VI.21</c:v>
                </c:pt>
                <c:pt idx="161">
                  <c:v>7.VI.21</c:v>
                </c:pt>
                <c:pt idx="162">
                  <c:v>8.VI.21</c:v>
                </c:pt>
                <c:pt idx="163">
                  <c:v>9.VI.21</c:v>
                </c:pt>
                <c:pt idx="164">
                  <c:v>10.VI.21</c:v>
                </c:pt>
                <c:pt idx="165">
                  <c:v>11.VI.21</c:v>
                </c:pt>
                <c:pt idx="166">
                  <c:v>12.VI.21</c:v>
                </c:pt>
                <c:pt idx="167">
                  <c:v>13.VI.21</c:v>
                </c:pt>
                <c:pt idx="168">
                  <c:v>14.VI.21</c:v>
                </c:pt>
                <c:pt idx="169">
                  <c:v>15.VI.21</c:v>
                </c:pt>
                <c:pt idx="170">
                  <c:v>16.VI.21</c:v>
                </c:pt>
                <c:pt idx="171">
                  <c:v>17.VI.21</c:v>
                </c:pt>
                <c:pt idx="172">
                  <c:v>18.VI.21</c:v>
                </c:pt>
                <c:pt idx="173">
                  <c:v>19.VI.21</c:v>
                </c:pt>
                <c:pt idx="174">
                  <c:v>20.VI.21</c:v>
                </c:pt>
                <c:pt idx="175">
                  <c:v>21.VI.21</c:v>
                </c:pt>
                <c:pt idx="176">
                  <c:v>22.VI.21</c:v>
                </c:pt>
                <c:pt idx="177">
                  <c:v>23.VI.21</c:v>
                </c:pt>
                <c:pt idx="178">
                  <c:v>24.VI.21</c:v>
                </c:pt>
                <c:pt idx="179">
                  <c:v>25.VI.21</c:v>
                </c:pt>
                <c:pt idx="180">
                  <c:v>26.VI.21</c:v>
                </c:pt>
                <c:pt idx="181">
                  <c:v>27.VI.21</c:v>
                </c:pt>
                <c:pt idx="182">
                  <c:v>28.VI.21</c:v>
                </c:pt>
                <c:pt idx="183">
                  <c:v>29.VI.21</c:v>
                </c:pt>
                <c:pt idx="184">
                  <c:v>30.VI.21</c:v>
                </c:pt>
                <c:pt idx="185">
                  <c:v>1.VII.21</c:v>
                </c:pt>
                <c:pt idx="186">
                  <c:v>2.VII.21</c:v>
                </c:pt>
                <c:pt idx="187">
                  <c:v>3.VII.21</c:v>
                </c:pt>
                <c:pt idx="188">
                  <c:v>4.VII.21</c:v>
                </c:pt>
                <c:pt idx="189">
                  <c:v>5.VII.21</c:v>
                </c:pt>
                <c:pt idx="190">
                  <c:v>6.VII.21</c:v>
                </c:pt>
                <c:pt idx="191">
                  <c:v>7.VII.21</c:v>
                </c:pt>
                <c:pt idx="192">
                  <c:v>8.VII.21</c:v>
                </c:pt>
                <c:pt idx="193">
                  <c:v>9.VII.21</c:v>
                </c:pt>
                <c:pt idx="194">
                  <c:v>10.VII.21</c:v>
                </c:pt>
                <c:pt idx="195">
                  <c:v>11.VII.21</c:v>
                </c:pt>
                <c:pt idx="196">
                  <c:v>12.VII.21</c:v>
                </c:pt>
                <c:pt idx="197">
                  <c:v>13.VII.21</c:v>
                </c:pt>
                <c:pt idx="198">
                  <c:v>14.VII.21</c:v>
                </c:pt>
                <c:pt idx="199">
                  <c:v>15.VII.21</c:v>
                </c:pt>
                <c:pt idx="200">
                  <c:v>16.VII.21</c:v>
                </c:pt>
                <c:pt idx="201">
                  <c:v>17.VII.21</c:v>
                </c:pt>
                <c:pt idx="202">
                  <c:v>18.VII.21</c:v>
                </c:pt>
                <c:pt idx="203">
                  <c:v>19.VII.21</c:v>
                </c:pt>
                <c:pt idx="204">
                  <c:v>20.VII.21</c:v>
                </c:pt>
                <c:pt idx="205">
                  <c:v>21.VII.21</c:v>
                </c:pt>
                <c:pt idx="206">
                  <c:v>22.VII.21</c:v>
                </c:pt>
                <c:pt idx="207">
                  <c:v>23.VII.21</c:v>
                </c:pt>
                <c:pt idx="208">
                  <c:v>24.VII.21</c:v>
                </c:pt>
                <c:pt idx="209">
                  <c:v>25.VII.21</c:v>
                </c:pt>
                <c:pt idx="210">
                  <c:v>26.VII.21</c:v>
                </c:pt>
                <c:pt idx="211">
                  <c:v>27.VII.21</c:v>
                </c:pt>
                <c:pt idx="212">
                  <c:v>28.VII.21</c:v>
                </c:pt>
                <c:pt idx="213">
                  <c:v>29.VII.21</c:v>
                </c:pt>
                <c:pt idx="214">
                  <c:v>30.VII.21</c:v>
                </c:pt>
                <c:pt idx="215">
                  <c:v>31.VII.21</c:v>
                </c:pt>
                <c:pt idx="216">
                  <c:v>1.VIII.21</c:v>
                </c:pt>
                <c:pt idx="217">
                  <c:v>2.VIII.21</c:v>
                </c:pt>
                <c:pt idx="218">
                  <c:v>3.VIII.21</c:v>
                </c:pt>
                <c:pt idx="219">
                  <c:v>4.VIII.21</c:v>
                </c:pt>
                <c:pt idx="220">
                  <c:v>5.VIII.21</c:v>
                </c:pt>
                <c:pt idx="221">
                  <c:v>6.VIII.21</c:v>
                </c:pt>
                <c:pt idx="222">
                  <c:v>7.VIII.21</c:v>
                </c:pt>
                <c:pt idx="223">
                  <c:v>8.VIII.21</c:v>
                </c:pt>
                <c:pt idx="224">
                  <c:v>9.VIII.21</c:v>
                </c:pt>
                <c:pt idx="225">
                  <c:v>10.VIII.21</c:v>
                </c:pt>
                <c:pt idx="226">
                  <c:v>11.VIII.21</c:v>
                </c:pt>
                <c:pt idx="227">
                  <c:v>12.VIII.21</c:v>
                </c:pt>
                <c:pt idx="228">
                  <c:v>13.VIII.21</c:v>
                </c:pt>
                <c:pt idx="229">
                  <c:v>14.VIII.21</c:v>
                </c:pt>
                <c:pt idx="230">
                  <c:v>15.VIII.21</c:v>
                </c:pt>
                <c:pt idx="231">
                  <c:v>16.VIII.21</c:v>
                </c:pt>
                <c:pt idx="232">
                  <c:v>17.VIII.21</c:v>
                </c:pt>
                <c:pt idx="233">
                  <c:v>18.VIII.21</c:v>
                </c:pt>
                <c:pt idx="234">
                  <c:v>19.VIII.21</c:v>
                </c:pt>
                <c:pt idx="235">
                  <c:v>20.VIII.21</c:v>
                </c:pt>
                <c:pt idx="236">
                  <c:v>21.VIII.21</c:v>
                </c:pt>
                <c:pt idx="237">
                  <c:v>22.VIII.21</c:v>
                </c:pt>
                <c:pt idx="238">
                  <c:v>23.VIII.21</c:v>
                </c:pt>
                <c:pt idx="239">
                  <c:v>24.VIII.21</c:v>
                </c:pt>
                <c:pt idx="240">
                  <c:v>25.VIII.21</c:v>
                </c:pt>
                <c:pt idx="241">
                  <c:v>26.VIII.21</c:v>
                </c:pt>
                <c:pt idx="242">
                  <c:v>27.VIII.21</c:v>
                </c:pt>
                <c:pt idx="243">
                  <c:v>28.VIII.21</c:v>
                </c:pt>
                <c:pt idx="244">
                  <c:v>29.VIII.21</c:v>
                </c:pt>
                <c:pt idx="245">
                  <c:v>30.VIII.21</c:v>
                </c:pt>
                <c:pt idx="246">
                  <c:v>31.VIII.21</c:v>
                </c:pt>
                <c:pt idx="247">
                  <c:v>1.IX.21</c:v>
                </c:pt>
                <c:pt idx="248">
                  <c:v>2.IX.21</c:v>
                </c:pt>
                <c:pt idx="249">
                  <c:v>3.IX.21</c:v>
                </c:pt>
                <c:pt idx="250">
                  <c:v>4.IX.21</c:v>
                </c:pt>
                <c:pt idx="251">
                  <c:v>5.IX.21</c:v>
                </c:pt>
                <c:pt idx="252">
                  <c:v>6.IX.21</c:v>
                </c:pt>
                <c:pt idx="253">
                  <c:v>7.IX.21</c:v>
                </c:pt>
                <c:pt idx="254">
                  <c:v>8.IX.21</c:v>
                </c:pt>
                <c:pt idx="255">
                  <c:v>9.IX.21</c:v>
                </c:pt>
                <c:pt idx="256">
                  <c:v>10.IX.21</c:v>
                </c:pt>
                <c:pt idx="257">
                  <c:v>11.IX.21</c:v>
                </c:pt>
                <c:pt idx="258">
                  <c:v>12.IX.21</c:v>
                </c:pt>
                <c:pt idx="259">
                  <c:v>13.IX.21</c:v>
                </c:pt>
                <c:pt idx="260">
                  <c:v>14.IX.21</c:v>
                </c:pt>
                <c:pt idx="261">
                  <c:v>15.IX.21</c:v>
                </c:pt>
                <c:pt idx="262">
                  <c:v>16.IX.21</c:v>
                </c:pt>
                <c:pt idx="263">
                  <c:v>17.IX.21</c:v>
                </c:pt>
                <c:pt idx="264">
                  <c:v>18.IX.21</c:v>
                </c:pt>
                <c:pt idx="265">
                  <c:v>19.IX.21</c:v>
                </c:pt>
                <c:pt idx="266">
                  <c:v>20.IX.21</c:v>
                </c:pt>
                <c:pt idx="267">
                  <c:v>21.IX.21</c:v>
                </c:pt>
                <c:pt idx="268">
                  <c:v>22.IX.21</c:v>
                </c:pt>
                <c:pt idx="269">
                  <c:v>23.IX.21</c:v>
                </c:pt>
                <c:pt idx="270">
                  <c:v>24.IX.21</c:v>
                </c:pt>
                <c:pt idx="271">
                  <c:v>25.IX.21</c:v>
                </c:pt>
                <c:pt idx="272">
                  <c:v>26.IX.21</c:v>
                </c:pt>
                <c:pt idx="273">
                  <c:v>27.IX.21</c:v>
                </c:pt>
                <c:pt idx="274">
                  <c:v>28.IX.21</c:v>
                </c:pt>
                <c:pt idx="275">
                  <c:v>29.IX.21</c:v>
                </c:pt>
                <c:pt idx="276">
                  <c:v>30.IX.21</c:v>
                </c:pt>
                <c:pt idx="277">
                  <c:v>1.X.21</c:v>
                </c:pt>
                <c:pt idx="278">
                  <c:v>2.X.21</c:v>
                </c:pt>
                <c:pt idx="279">
                  <c:v>3.X.21</c:v>
                </c:pt>
                <c:pt idx="280">
                  <c:v>4.X.21</c:v>
                </c:pt>
                <c:pt idx="281">
                  <c:v>5.X.21</c:v>
                </c:pt>
                <c:pt idx="282">
                  <c:v>6.X.21</c:v>
                </c:pt>
                <c:pt idx="283">
                  <c:v>7.X.21</c:v>
                </c:pt>
                <c:pt idx="284">
                  <c:v>8.X.21</c:v>
                </c:pt>
                <c:pt idx="285">
                  <c:v>9.X.21</c:v>
                </c:pt>
                <c:pt idx="286">
                  <c:v>10.X.21</c:v>
                </c:pt>
                <c:pt idx="287">
                  <c:v>11.X.21</c:v>
                </c:pt>
                <c:pt idx="288">
                  <c:v>12.X.21</c:v>
                </c:pt>
                <c:pt idx="289">
                  <c:v>13.X.21</c:v>
                </c:pt>
                <c:pt idx="290">
                  <c:v>14.X.21</c:v>
                </c:pt>
                <c:pt idx="291">
                  <c:v>15.X.21</c:v>
                </c:pt>
                <c:pt idx="292">
                  <c:v>16.X.21</c:v>
                </c:pt>
                <c:pt idx="293">
                  <c:v>17.X.21</c:v>
                </c:pt>
                <c:pt idx="294">
                  <c:v>18.X.21</c:v>
                </c:pt>
                <c:pt idx="295">
                  <c:v>19.X.21</c:v>
                </c:pt>
                <c:pt idx="296">
                  <c:v>20.X.21</c:v>
                </c:pt>
                <c:pt idx="297">
                  <c:v>21.X.21</c:v>
                </c:pt>
                <c:pt idx="298">
                  <c:v>22.X.21</c:v>
                </c:pt>
                <c:pt idx="299">
                  <c:v>23.X.21</c:v>
                </c:pt>
                <c:pt idx="300">
                  <c:v>24.X.21</c:v>
                </c:pt>
                <c:pt idx="301">
                  <c:v>25.X.21</c:v>
                </c:pt>
                <c:pt idx="302">
                  <c:v>26.X.21</c:v>
                </c:pt>
                <c:pt idx="303">
                  <c:v>27.X.21</c:v>
                </c:pt>
                <c:pt idx="304">
                  <c:v>28.X.21</c:v>
                </c:pt>
                <c:pt idx="305">
                  <c:v>29.X.21</c:v>
                </c:pt>
                <c:pt idx="306">
                  <c:v>30.X.21</c:v>
                </c:pt>
                <c:pt idx="307">
                  <c:v>31.X.21</c:v>
                </c:pt>
                <c:pt idx="308">
                  <c:v>1.XI.21</c:v>
                </c:pt>
                <c:pt idx="309">
                  <c:v>2.XI.21</c:v>
                </c:pt>
                <c:pt idx="310">
                  <c:v>3.XI.21</c:v>
                </c:pt>
                <c:pt idx="311">
                  <c:v>4.XI.21</c:v>
                </c:pt>
                <c:pt idx="312">
                  <c:v>5.XI.21</c:v>
                </c:pt>
                <c:pt idx="313">
                  <c:v>6.XI.21</c:v>
                </c:pt>
                <c:pt idx="314">
                  <c:v>7.XI.21</c:v>
                </c:pt>
                <c:pt idx="315">
                  <c:v>8.XI.21</c:v>
                </c:pt>
                <c:pt idx="316">
                  <c:v>9.XI.21</c:v>
                </c:pt>
                <c:pt idx="317">
                  <c:v>10.XI.21</c:v>
                </c:pt>
                <c:pt idx="318">
                  <c:v>11.XI.21</c:v>
                </c:pt>
                <c:pt idx="319">
                  <c:v>12.XI.21</c:v>
                </c:pt>
                <c:pt idx="320">
                  <c:v>13.XI.21</c:v>
                </c:pt>
                <c:pt idx="321">
                  <c:v>14.XI.21</c:v>
                </c:pt>
                <c:pt idx="322">
                  <c:v>15.XI.21</c:v>
                </c:pt>
                <c:pt idx="323">
                  <c:v>16.XI.21</c:v>
                </c:pt>
                <c:pt idx="324">
                  <c:v>17.XI.21</c:v>
                </c:pt>
                <c:pt idx="325">
                  <c:v>18.XI.21</c:v>
                </c:pt>
                <c:pt idx="326">
                  <c:v>19.XI.21</c:v>
                </c:pt>
                <c:pt idx="327">
                  <c:v>20.XI.21</c:v>
                </c:pt>
                <c:pt idx="328">
                  <c:v>21.XI.21</c:v>
                </c:pt>
                <c:pt idx="329">
                  <c:v>22.XI.21</c:v>
                </c:pt>
                <c:pt idx="330">
                  <c:v>23.XI.21</c:v>
                </c:pt>
                <c:pt idx="331">
                  <c:v>24.XI.21</c:v>
                </c:pt>
                <c:pt idx="332">
                  <c:v>25.XI.21</c:v>
                </c:pt>
                <c:pt idx="333">
                  <c:v>26.XI.21</c:v>
                </c:pt>
                <c:pt idx="334">
                  <c:v>27.XI.21</c:v>
                </c:pt>
                <c:pt idx="335">
                  <c:v>28.XI.21</c:v>
                </c:pt>
                <c:pt idx="336">
                  <c:v>29.XI.21</c:v>
                </c:pt>
                <c:pt idx="337">
                  <c:v>30.XI.21</c:v>
                </c:pt>
                <c:pt idx="338">
                  <c:v>1.XII.21</c:v>
                </c:pt>
                <c:pt idx="339">
                  <c:v>2.XII.21</c:v>
                </c:pt>
                <c:pt idx="340">
                  <c:v>3.XII.21</c:v>
                </c:pt>
                <c:pt idx="341">
                  <c:v>4.XII.21</c:v>
                </c:pt>
                <c:pt idx="342">
                  <c:v>5.XII.21</c:v>
                </c:pt>
                <c:pt idx="343">
                  <c:v>6.XII.21</c:v>
                </c:pt>
                <c:pt idx="344">
                  <c:v>7.XII.21</c:v>
                </c:pt>
                <c:pt idx="345">
                  <c:v>8.XII.21</c:v>
                </c:pt>
                <c:pt idx="346">
                  <c:v>9.XII.21</c:v>
                </c:pt>
                <c:pt idx="347">
                  <c:v>10.XII.21</c:v>
                </c:pt>
                <c:pt idx="348">
                  <c:v>11.XII.21</c:v>
                </c:pt>
                <c:pt idx="349">
                  <c:v>12.XII.21</c:v>
                </c:pt>
                <c:pt idx="350">
                  <c:v>13.XII.21</c:v>
                </c:pt>
                <c:pt idx="351">
                  <c:v>14.XII.21</c:v>
                </c:pt>
                <c:pt idx="352">
                  <c:v>15.XII.21</c:v>
                </c:pt>
                <c:pt idx="353">
                  <c:v>16.XII.21</c:v>
                </c:pt>
                <c:pt idx="354">
                  <c:v>17.XII.21</c:v>
                </c:pt>
                <c:pt idx="355">
                  <c:v>18.XII.21</c:v>
                </c:pt>
                <c:pt idx="356">
                  <c:v>19.XII.21</c:v>
                </c:pt>
                <c:pt idx="357">
                  <c:v>20.XII.21</c:v>
                </c:pt>
                <c:pt idx="358">
                  <c:v>21.XII.21</c:v>
                </c:pt>
                <c:pt idx="359">
                  <c:v>22.XII.21</c:v>
                </c:pt>
                <c:pt idx="360">
                  <c:v>23.XII.21</c:v>
                </c:pt>
                <c:pt idx="361">
                  <c:v>27.XII.21</c:v>
                </c:pt>
                <c:pt idx="362">
                  <c:v>28.XII.21</c:v>
                </c:pt>
                <c:pt idx="363">
                  <c:v>29.XII.21</c:v>
                </c:pt>
                <c:pt idx="364">
                  <c:v>30.XII.21</c:v>
                </c:pt>
                <c:pt idx="365">
                  <c:v>31.XII.21</c:v>
                </c:pt>
                <c:pt idx="366">
                  <c:v>2.I.22</c:v>
                </c:pt>
                <c:pt idx="367">
                  <c:v>3.I.22</c:v>
                </c:pt>
                <c:pt idx="368">
                  <c:v>4.I.22</c:v>
                </c:pt>
                <c:pt idx="369">
                  <c:v>5.I.22</c:v>
                </c:pt>
                <c:pt idx="370">
                  <c:v>6.I.22</c:v>
                </c:pt>
                <c:pt idx="371">
                  <c:v>7.I.22</c:v>
                </c:pt>
                <c:pt idx="372">
                  <c:v>8.I.22</c:v>
                </c:pt>
                <c:pt idx="373">
                  <c:v>9.I.22</c:v>
                </c:pt>
                <c:pt idx="374">
                  <c:v>10.I.22</c:v>
                </c:pt>
                <c:pt idx="375">
                  <c:v>11.I.22</c:v>
                </c:pt>
                <c:pt idx="376">
                  <c:v>12.I.22</c:v>
                </c:pt>
                <c:pt idx="377">
                  <c:v>13.I.22</c:v>
                </c:pt>
                <c:pt idx="378">
                  <c:v>14.I.22</c:v>
                </c:pt>
                <c:pt idx="379">
                  <c:v>15.I.22</c:v>
                </c:pt>
                <c:pt idx="380">
                  <c:v>16.I.22</c:v>
                </c:pt>
                <c:pt idx="381">
                  <c:v>17.I.22</c:v>
                </c:pt>
                <c:pt idx="382">
                  <c:v>18.I.22</c:v>
                </c:pt>
                <c:pt idx="383">
                  <c:v>19.I.22</c:v>
                </c:pt>
                <c:pt idx="384">
                  <c:v>20.I.22</c:v>
                </c:pt>
                <c:pt idx="385">
                  <c:v>21.I.22</c:v>
                </c:pt>
                <c:pt idx="386">
                  <c:v>22.I.22</c:v>
                </c:pt>
                <c:pt idx="387">
                  <c:v>23.I.22</c:v>
                </c:pt>
                <c:pt idx="388">
                  <c:v>24.I.22</c:v>
                </c:pt>
                <c:pt idx="389">
                  <c:v>25.I.22</c:v>
                </c:pt>
                <c:pt idx="390">
                  <c:v>26.I.22</c:v>
                </c:pt>
                <c:pt idx="391">
                  <c:v>27.I.22</c:v>
                </c:pt>
                <c:pt idx="392">
                  <c:v>28.I.22</c:v>
                </c:pt>
              </c:strCache>
            </c:strRef>
          </c:cat>
          <c:val>
            <c:numRef>
              <c:f>List1!$J$4:$OL$4</c:f>
              <c:numCache>
                <c:formatCode>General</c:formatCode>
                <c:ptCount val="393"/>
                <c:pt idx="0">
                  <c:v>640</c:v>
                </c:pt>
                <c:pt idx="1">
                  <c:v>1248</c:v>
                </c:pt>
                <c:pt idx="2">
                  <c:v>1873</c:v>
                </c:pt>
                <c:pt idx="3">
                  <c:v>2046</c:v>
                </c:pt>
                <c:pt idx="4">
                  <c:v>2075</c:v>
                </c:pt>
                <c:pt idx="5">
                  <c:v>2363</c:v>
                </c:pt>
                <c:pt idx="6">
                  <c:v>2574</c:v>
                </c:pt>
                <c:pt idx="7">
                  <c:v>3201</c:v>
                </c:pt>
                <c:pt idx="8">
                  <c:v>4164</c:v>
                </c:pt>
                <c:pt idx="9">
                  <c:v>5582</c:v>
                </c:pt>
                <c:pt idx="10">
                  <c:v>7183</c:v>
                </c:pt>
                <c:pt idx="11">
                  <c:v>9030</c:v>
                </c:pt>
                <c:pt idx="12">
                  <c:v>9338</c:v>
                </c:pt>
                <c:pt idx="13">
                  <c:v>9647</c:v>
                </c:pt>
                <c:pt idx="14">
                  <c:v>11514</c:v>
                </c:pt>
                <c:pt idx="15">
                  <c:v>13796</c:v>
                </c:pt>
                <c:pt idx="16">
                  <c:v>15839</c:v>
                </c:pt>
                <c:pt idx="17">
                  <c:v>17729</c:v>
                </c:pt>
                <c:pt idx="18">
                  <c:v>19341</c:v>
                </c:pt>
                <c:pt idx="19">
                  <c:v>19561</c:v>
                </c:pt>
                <c:pt idx="20">
                  <c:v>19657</c:v>
                </c:pt>
                <c:pt idx="21">
                  <c:v>20832</c:v>
                </c:pt>
                <c:pt idx="22">
                  <c:v>21765</c:v>
                </c:pt>
                <c:pt idx="23">
                  <c:v>22709</c:v>
                </c:pt>
                <c:pt idx="24">
                  <c:v>23567</c:v>
                </c:pt>
                <c:pt idx="25">
                  <c:v>24319</c:v>
                </c:pt>
                <c:pt idx="26">
                  <c:v>24383</c:v>
                </c:pt>
                <c:pt idx="27">
                  <c:v>24428</c:v>
                </c:pt>
                <c:pt idx="28">
                  <c:v>24879</c:v>
                </c:pt>
                <c:pt idx="29">
                  <c:v>25332</c:v>
                </c:pt>
                <c:pt idx="30">
                  <c:v>25729</c:v>
                </c:pt>
                <c:pt idx="31">
                  <c:v>26132</c:v>
                </c:pt>
                <c:pt idx="32">
                  <c:v>26516</c:v>
                </c:pt>
                <c:pt idx="33">
                  <c:v>26540</c:v>
                </c:pt>
                <c:pt idx="34">
                  <c:v>26572</c:v>
                </c:pt>
                <c:pt idx="35">
                  <c:v>26864</c:v>
                </c:pt>
                <c:pt idx="36">
                  <c:v>27154</c:v>
                </c:pt>
                <c:pt idx="37">
                  <c:v>27387</c:v>
                </c:pt>
                <c:pt idx="38">
                  <c:v>27571</c:v>
                </c:pt>
                <c:pt idx="39">
                  <c:v>27806</c:v>
                </c:pt>
                <c:pt idx="40">
                  <c:v>27815</c:v>
                </c:pt>
                <c:pt idx="41">
                  <c:v>27833</c:v>
                </c:pt>
                <c:pt idx="42">
                  <c:v>28070</c:v>
                </c:pt>
                <c:pt idx="43">
                  <c:v>28265</c:v>
                </c:pt>
                <c:pt idx="44">
                  <c:v>28532</c:v>
                </c:pt>
                <c:pt idx="45">
                  <c:v>28883</c:v>
                </c:pt>
                <c:pt idx="46">
                  <c:v>29275</c:v>
                </c:pt>
                <c:pt idx="47">
                  <c:v>29387</c:v>
                </c:pt>
                <c:pt idx="48">
                  <c:v>29453</c:v>
                </c:pt>
                <c:pt idx="49">
                  <c:v>29868</c:v>
                </c:pt>
                <c:pt idx="50">
                  <c:v>30374</c:v>
                </c:pt>
                <c:pt idx="51">
                  <c:v>30919</c:v>
                </c:pt>
                <c:pt idx="52">
                  <c:v>31477</c:v>
                </c:pt>
                <c:pt idx="53">
                  <c:v>32131</c:v>
                </c:pt>
                <c:pt idx="54">
                  <c:v>32357</c:v>
                </c:pt>
                <c:pt idx="55">
                  <c:v>32414</c:v>
                </c:pt>
                <c:pt idx="56">
                  <c:v>33099</c:v>
                </c:pt>
                <c:pt idx="57">
                  <c:v>34101</c:v>
                </c:pt>
                <c:pt idx="58">
                  <c:v>35179</c:v>
                </c:pt>
                <c:pt idx="59">
                  <c:v>36331</c:v>
                </c:pt>
                <c:pt idx="60">
                  <c:v>37405</c:v>
                </c:pt>
                <c:pt idx="61">
                  <c:v>37564</c:v>
                </c:pt>
                <c:pt idx="62">
                  <c:v>37694</c:v>
                </c:pt>
                <c:pt idx="63">
                  <c:v>38807</c:v>
                </c:pt>
                <c:pt idx="64">
                  <c:v>40017</c:v>
                </c:pt>
                <c:pt idx="65">
                  <c:v>41129</c:v>
                </c:pt>
                <c:pt idx="66">
                  <c:v>42130</c:v>
                </c:pt>
                <c:pt idx="67">
                  <c:v>43317</c:v>
                </c:pt>
                <c:pt idx="68">
                  <c:v>43607</c:v>
                </c:pt>
                <c:pt idx="69">
                  <c:v>43822</c:v>
                </c:pt>
                <c:pt idx="70">
                  <c:v>44665</c:v>
                </c:pt>
                <c:pt idx="71">
                  <c:v>45488</c:v>
                </c:pt>
                <c:pt idx="72">
                  <c:v>46386</c:v>
                </c:pt>
                <c:pt idx="73">
                  <c:v>47584</c:v>
                </c:pt>
                <c:pt idx="74">
                  <c:v>48697</c:v>
                </c:pt>
                <c:pt idx="75">
                  <c:v>48981</c:v>
                </c:pt>
                <c:pt idx="76">
                  <c:v>49222</c:v>
                </c:pt>
                <c:pt idx="77">
                  <c:v>49854</c:v>
                </c:pt>
                <c:pt idx="78">
                  <c:v>50783</c:v>
                </c:pt>
                <c:pt idx="79">
                  <c:v>51722</c:v>
                </c:pt>
                <c:pt idx="80">
                  <c:v>52500</c:v>
                </c:pt>
                <c:pt idx="81">
                  <c:v>53457</c:v>
                </c:pt>
                <c:pt idx="82">
                  <c:v>53857</c:v>
                </c:pt>
                <c:pt idx="83">
                  <c:v>54063</c:v>
                </c:pt>
                <c:pt idx="84">
                  <c:v>54512</c:v>
                </c:pt>
                <c:pt idx="85">
                  <c:v>55006</c:v>
                </c:pt>
                <c:pt idx="86">
                  <c:v>55423</c:v>
                </c:pt>
                <c:pt idx="87">
                  <c:v>55968</c:v>
                </c:pt>
                <c:pt idx="88">
                  <c:v>56546</c:v>
                </c:pt>
                <c:pt idx="89">
                  <c:v>56706</c:v>
                </c:pt>
                <c:pt idx="90">
                  <c:v>56842</c:v>
                </c:pt>
                <c:pt idx="91">
                  <c:v>57152</c:v>
                </c:pt>
                <c:pt idx="92">
                  <c:v>57574</c:v>
                </c:pt>
                <c:pt idx="93">
                  <c:v>58069</c:v>
                </c:pt>
                <c:pt idx="94">
                  <c:v>58499</c:v>
                </c:pt>
                <c:pt idx="95">
                  <c:v>58586</c:v>
                </c:pt>
                <c:pt idx="96">
                  <c:v>58644</c:v>
                </c:pt>
                <c:pt idx="97">
                  <c:v>58682</c:v>
                </c:pt>
                <c:pt idx="98">
                  <c:v>58711</c:v>
                </c:pt>
                <c:pt idx="99">
                  <c:v>58941</c:v>
                </c:pt>
                <c:pt idx="100">
                  <c:v>59205</c:v>
                </c:pt>
                <c:pt idx="101">
                  <c:v>59745</c:v>
                </c:pt>
                <c:pt idx="102">
                  <c:v>60248</c:v>
                </c:pt>
                <c:pt idx="103">
                  <c:v>60421</c:v>
                </c:pt>
                <c:pt idx="104">
                  <c:v>60537</c:v>
                </c:pt>
                <c:pt idx="105">
                  <c:v>60915</c:v>
                </c:pt>
                <c:pt idx="106">
                  <c:v>61228</c:v>
                </c:pt>
                <c:pt idx="107">
                  <c:v>61614</c:v>
                </c:pt>
                <c:pt idx="108">
                  <c:v>62165</c:v>
                </c:pt>
                <c:pt idx="109">
                  <c:v>62814</c:v>
                </c:pt>
                <c:pt idx="110">
                  <c:v>62991</c:v>
                </c:pt>
                <c:pt idx="111">
                  <c:v>63185</c:v>
                </c:pt>
                <c:pt idx="112">
                  <c:v>63642</c:v>
                </c:pt>
                <c:pt idx="113">
                  <c:v>64068</c:v>
                </c:pt>
                <c:pt idx="114">
                  <c:v>64568</c:v>
                </c:pt>
                <c:pt idx="115">
                  <c:v>65169</c:v>
                </c:pt>
                <c:pt idx="116">
                  <c:v>65817</c:v>
                </c:pt>
                <c:pt idx="117">
                  <c:v>66002</c:v>
                </c:pt>
                <c:pt idx="118">
                  <c:v>66153</c:v>
                </c:pt>
                <c:pt idx="119">
                  <c:v>66636</c:v>
                </c:pt>
                <c:pt idx="120">
                  <c:v>67059</c:v>
                </c:pt>
                <c:pt idx="121">
                  <c:v>67627</c:v>
                </c:pt>
                <c:pt idx="122">
                  <c:v>68214</c:v>
                </c:pt>
                <c:pt idx="123">
                  <c:v>68832</c:v>
                </c:pt>
                <c:pt idx="124">
                  <c:v>68986</c:v>
                </c:pt>
                <c:pt idx="125">
                  <c:v>69141</c:v>
                </c:pt>
                <c:pt idx="126">
                  <c:v>69597</c:v>
                </c:pt>
                <c:pt idx="127">
                  <c:v>70056</c:v>
                </c:pt>
                <c:pt idx="128">
                  <c:v>70583</c:v>
                </c:pt>
                <c:pt idx="129">
                  <c:v>71115</c:v>
                </c:pt>
                <c:pt idx="130">
                  <c:v>71678</c:v>
                </c:pt>
                <c:pt idx="131">
                  <c:v>71901</c:v>
                </c:pt>
                <c:pt idx="132">
                  <c:v>72072</c:v>
                </c:pt>
                <c:pt idx="133">
                  <c:v>72549</c:v>
                </c:pt>
                <c:pt idx="134">
                  <c:v>72982</c:v>
                </c:pt>
                <c:pt idx="135">
                  <c:v>73459</c:v>
                </c:pt>
                <c:pt idx="136">
                  <c:v>74008</c:v>
                </c:pt>
                <c:pt idx="137">
                  <c:v>74520</c:v>
                </c:pt>
                <c:pt idx="138">
                  <c:v>74730</c:v>
                </c:pt>
                <c:pt idx="139">
                  <c:v>74882</c:v>
                </c:pt>
                <c:pt idx="140">
                  <c:v>75272</c:v>
                </c:pt>
                <c:pt idx="141">
                  <c:v>75690</c:v>
                </c:pt>
                <c:pt idx="142">
                  <c:v>76154</c:v>
                </c:pt>
                <c:pt idx="143">
                  <c:v>76599</c:v>
                </c:pt>
                <c:pt idx="144">
                  <c:v>77056</c:v>
                </c:pt>
                <c:pt idx="145">
                  <c:v>77234</c:v>
                </c:pt>
                <c:pt idx="146">
                  <c:v>77350</c:v>
                </c:pt>
                <c:pt idx="147">
                  <c:v>77639</c:v>
                </c:pt>
                <c:pt idx="148">
                  <c:v>77969</c:v>
                </c:pt>
                <c:pt idx="149">
                  <c:v>78381</c:v>
                </c:pt>
                <c:pt idx="150">
                  <c:v>78757</c:v>
                </c:pt>
                <c:pt idx="151">
                  <c:v>79196</c:v>
                </c:pt>
                <c:pt idx="152">
                  <c:v>79384</c:v>
                </c:pt>
                <c:pt idx="153">
                  <c:v>79552</c:v>
                </c:pt>
                <c:pt idx="154">
                  <c:v>79895</c:v>
                </c:pt>
                <c:pt idx="155">
                  <c:v>80267</c:v>
                </c:pt>
                <c:pt idx="156">
                  <c:v>80719</c:v>
                </c:pt>
                <c:pt idx="157">
                  <c:v>81137</c:v>
                </c:pt>
                <c:pt idx="158">
                  <c:v>81604</c:v>
                </c:pt>
                <c:pt idx="159">
                  <c:v>81866</c:v>
                </c:pt>
                <c:pt idx="160">
                  <c:v>82111</c:v>
                </c:pt>
                <c:pt idx="161">
                  <c:v>82590</c:v>
                </c:pt>
                <c:pt idx="162">
                  <c:v>83138</c:v>
                </c:pt>
                <c:pt idx="163">
                  <c:v>83629</c:v>
                </c:pt>
                <c:pt idx="164">
                  <c:v>84063</c:v>
                </c:pt>
                <c:pt idx="165">
                  <c:v>84527</c:v>
                </c:pt>
                <c:pt idx="166">
                  <c:v>84818</c:v>
                </c:pt>
                <c:pt idx="167">
                  <c:v>85046</c:v>
                </c:pt>
                <c:pt idx="168">
                  <c:v>85403</c:v>
                </c:pt>
                <c:pt idx="169">
                  <c:v>85839</c:v>
                </c:pt>
                <c:pt idx="170">
                  <c:v>86229</c:v>
                </c:pt>
                <c:pt idx="171">
                  <c:v>86598</c:v>
                </c:pt>
                <c:pt idx="172">
                  <c:v>86980</c:v>
                </c:pt>
                <c:pt idx="173">
                  <c:v>87171</c:v>
                </c:pt>
                <c:pt idx="174">
                  <c:v>87313</c:v>
                </c:pt>
                <c:pt idx="175">
                  <c:v>87612</c:v>
                </c:pt>
                <c:pt idx="176">
                  <c:v>87931</c:v>
                </c:pt>
                <c:pt idx="177">
                  <c:v>88188</c:v>
                </c:pt>
                <c:pt idx="178">
                  <c:v>88478</c:v>
                </c:pt>
                <c:pt idx="179">
                  <c:v>88738</c:v>
                </c:pt>
                <c:pt idx="180">
                  <c:v>88890</c:v>
                </c:pt>
                <c:pt idx="181">
                  <c:v>89003</c:v>
                </c:pt>
                <c:pt idx="182">
                  <c:v>89276</c:v>
                </c:pt>
                <c:pt idx="183">
                  <c:v>89525</c:v>
                </c:pt>
                <c:pt idx="184">
                  <c:v>89769</c:v>
                </c:pt>
                <c:pt idx="185">
                  <c:v>89948</c:v>
                </c:pt>
                <c:pt idx="186">
                  <c:v>90186</c:v>
                </c:pt>
                <c:pt idx="187">
                  <c:v>90238</c:v>
                </c:pt>
                <c:pt idx="188">
                  <c:v>90298</c:v>
                </c:pt>
                <c:pt idx="189">
                  <c:v>90356</c:v>
                </c:pt>
                <c:pt idx="190">
                  <c:v>90416</c:v>
                </c:pt>
                <c:pt idx="191">
                  <c:v>90625</c:v>
                </c:pt>
                <c:pt idx="192">
                  <c:v>90843</c:v>
                </c:pt>
                <c:pt idx="193">
                  <c:v>91068</c:v>
                </c:pt>
                <c:pt idx="194">
                  <c:v>91161</c:v>
                </c:pt>
                <c:pt idx="195">
                  <c:v>91219</c:v>
                </c:pt>
                <c:pt idx="196">
                  <c:v>91455</c:v>
                </c:pt>
                <c:pt idx="197">
                  <c:v>91675</c:v>
                </c:pt>
                <c:pt idx="198">
                  <c:v>91916</c:v>
                </c:pt>
                <c:pt idx="199">
                  <c:v>92164</c:v>
                </c:pt>
                <c:pt idx="200">
                  <c:v>92416</c:v>
                </c:pt>
                <c:pt idx="201">
                  <c:v>92526</c:v>
                </c:pt>
                <c:pt idx="202">
                  <c:v>92596</c:v>
                </c:pt>
                <c:pt idx="203">
                  <c:v>92800</c:v>
                </c:pt>
                <c:pt idx="204">
                  <c:v>92961</c:v>
                </c:pt>
                <c:pt idx="205">
                  <c:v>93182</c:v>
                </c:pt>
                <c:pt idx="206">
                  <c:v>93363</c:v>
                </c:pt>
                <c:pt idx="207">
                  <c:v>93576</c:v>
                </c:pt>
                <c:pt idx="208">
                  <c:v>93638</c:v>
                </c:pt>
                <c:pt idx="209">
                  <c:v>93693</c:v>
                </c:pt>
                <c:pt idx="210">
                  <c:v>93874</c:v>
                </c:pt>
                <c:pt idx="211">
                  <c:v>94073</c:v>
                </c:pt>
                <c:pt idx="212">
                  <c:v>94250</c:v>
                </c:pt>
                <c:pt idx="213">
                  <c:v>94410</c:v>
                </c:pt>
                <c:pt idx="214">
                  <c:v>94622</c:v>
                </c:pt>
                <c:pt idx="215">
                  <c:v>94688</c:v>
                </c:pt>
                <c:pt idx="216">
                  <c:v>94738</c:v>
                </c:pt>
                <c:pt idx="217">
                  <c:v>94885</c:v>
                </c:pt>
                <c:pt idx="218">
                  <c:v>95015</c:v>
                </c:pt>
                <c:pt idx="219">
                  <c:v>95160</c:v>
                </c:pt>
                <c:pt idx="220">
                  <c:v>95287</c:v>
                </c:pt>
                <c:pt idx="221">
                  <c:v>95416</c:v>
                </c:pt>
                <c:pt idx="222">
                  <c:v>95454</c:v>
                </c:pt>
                <c:pt idx="223">
                  <c:v>95488</c:v>
                </c:pt>
                <c:pt idx="224">
                  <c:v>95592</c:v>
                </c:pt>
                <c:pt idx="225">
                  <c:v>95708</c:v>
                </c:pt>
                <c:pt idx="226">
                  <c:v>95781</c:v>
                </c:pt>
                <c:pt idx="227">
                  <c:v>95886</c:v>
                </c:pt>
                <c:pt idx="228">
                  <c:v>95990</c:v>
                </c:pt>
                <c:pt idx="229">
                  <c:v>96016</c:v>
                </c:pt>
                <c:pt idx="230">
                  <c:v>96035</c:v>
                </c:pt>
                <c:pt idx="231">
                  <c:v>96117</c:v>
                </c:pt>
                <c:pt idx="232">
                  <c:v>96196</c:v>
                </c:pt>
                <c:pt idx="233">
                  <c:v>96279</c:v>
                </c:pt>
                <c:pt idx="234">
                  <c:v>96351</c:v>
                </c:pt>
                <c:pt idx="235">
                  <c:v>96449</c:v>
                </c:pt>
                <c:pt idx="236">
                  <c:v>96467</c:v>
                </c:pt>
                <c:pt idx="237">
                  <c:v>96486</c:v>
                </c:pt>
                <c:pt idx="238">
                  <c:v>96580</c:v>
                </c:pt>
                <c:pt idx="239">
                  <c:v>96655</c:v>
                </c:pt>
                <c:pt idx="240">
                  <c:v>96732</c:v>
                </c:pt>
                <c:pt idx="241">
                  <c:v>96795</c:v>
                </c:pt>
                <c:pt idx="242">
                  <c:v>96898</c:v>
                </c:pt>
                <c:pt idx="243">
                  <c:v>96924</c:v>
                </c:pt>
                <c:pt idx="244">
                  <c:v>96934</c:v>
                </c:pt>
                <c:pt idx="245">
                  <c:v>97013</c:v>
                </c:pt>
                <c:pt idx="246">
                  <c:v>97092</c:v>
                </c:pt>
                <c:pt idx="247">
                  <c:v>97141</c:v>
                </c:pt>
                <c:pt idx="248">
                  <c:v>97214</c:v>
                </c:pt>
                <c:pt idx="249">
                  <c:v>97307</c:v>
                </c:pt>
                <c:pt idx="250">
                  <c:v>97322</c:v>
                </c:pt>
                <c:pt idx="251">
                  <c:v>97340</c:v>
                </c:pt>
                <c:pt idx="252">
                  <c:v>97404</c:v>
                </c:pt>
                <c:pt idx="253">
                  <c:v>97439</c:v>
                </c:pt>
                <c:pt idx="254">
                  <c:v>97492</c:v>
                </c:pt>
                <c:pt idx="255">
                  <c:v>97551</c:v>
                </c:pt>
                <c:pt idx="256">
                  <c:v>97621</c:v>
                </c:pt>
                <c:pt idx="257">
                  <c:v>97637</c:v>
                </c:pt>
                <c:pt idx="258">
                  <c:v>97650</c:v>
                </c:pt>
                <c:pt idx="259">
                  <c:v>97698</c:v>
                </c:pt>
                <c:pt idx="260">
                  <c:v>97749</c:v>
                </c:pt>
                <c:pt idx="261">
                  <c:v>97792</c:v>
                </c:pt>
                <c:pt idx="262">
                  <c:v>97838</c:v>
                </c:pt>
                <c:pt idx="263">
                  <c:v>97910</c:v>
                </c:pt>
                <c:pt idx="264">
                  <c:v>97929</c:v>
                </c:pt>
                <c:pt idx="265">
                  <c:v>97935</c:v>
                </c:pt>
                <c:pt idx="266">
                  <c:v>97979</c:v>
                </c:pt>
                <c:pt idx="267">
                  <c:v>98026</c:v>
                </c:pt>
                <c:pt idx="268">
                  <c:v>98069</c:v>
                </c:pt>
                <c:pt idx="269">
                  <c:v>98127</c:v>
                </c:pt>
                <c:pt idx="270">
                  <c:v>98196</c:v>
                </c:pt>
                <c:pt idx="271">
                  <c:v>98212</c:v>
                </c:pt>
                <c:pt idx="272">
                  <c:v>98218</c:v>
                </c:pt>
                <c:pt idx="273">
                  <c:v>98260</c:v>
                </c:pt>
                <c:pt idx="274">
                  <c:v>98266</c:v>
                </c:pt>
                <c:pt idx="275">
                  <c:v>98293</c:v>
                </c:pt>
                <c:pt idx="276">
                  <c:v>98339</c:v>
                </c:pt>
                <c:pt idx="277">
                  <c:v>98377</c:v>
                </c:pt>
                <c:pt idx="278">
                  <c:v>98385</c:v>
                </c:pt>
                <c:pt idx="279">
                  <c:v>98392</c:v>
                </c:pt>
                <c:pt idx="280">
                  <c:v>98422</c:v>
                </c:pt>
                <c:pt idx="281">
                  <c:v>98451</c:v>
                </c:pt>
                <c:pt idx="282">
                  <c:v>98489</c:v>
                </c:pt>
                <c:pt idx="283">
                  <c:v>98513</c:v>
                </c:pt>
                <c:pt idx="284">
                  <c:v>98561</c:v>
                </c:pt>
                <c:pt idx="285">
                  <c:v>98570</c:v>
                </c:pt>
                <c:pt idx="286">
                  <c:v>98577</c:v>
                </c:pt>
                <c:pt idx="287">
                  <c:v>98605</c:v>
                </c:pt>
                <c:pt idx="288">
                  <c:v>98651</c:v>
                </c:pt>
                <c:pt idx="289">
                  <c:v>98688</c:v>
                </c:pt>
                <c:pt idx="290">
                  <c:v>98716</c:v>
                </c:pt>
                <c:pt idx="291">
                  <c:v>98774</c:v>
                </c:pt>
                <c:pt idx="292">
                  <c:v>98791</c:v>
                </c:pt>
                <c:pt idx="293">
                  <c:v>98802</c:v>
                </c:pt>
                <c:pt idx="294">
                  <c:v>98860</c:v>
                </c:pt>
                <c:pt idx="295">
                  <c:v>98892</c:v>
                </c:pt>
                <c:pt idx="296">
                  <c:v>98951</c:v>
                </c:pt>
                <c:pt idx="297">
                  <c:v>99051</c:v>
                </c:pt>
                <c:pt idx="298">
                  <c:v>99195</c:v>
                </c:pt>
                <c:pt idx="299">
                  <c:v>99245</c:v>
                </c:pt>
                <c:pt idx="300">
                  <c:v>99279</c:v>
                </c:pt>
                <c:pt idx="301">
                  <c:v>99396</c:v>
                </c:pt>
                <c:pt idx="302">
                  <c:v>99553</c:v>
                </c:pt>
                <c:pt idx="303">
                  <c:v>99723</c:v>
                </c:pt>
                <c:pt idx="304">
                  <c:v>99762</c:v>
                </c:pt>
                <c:pt idx="305">
                  <c:v>99943</c:v>
                </c:pt>
                <c:pt idx="306">
                  <c:v>99993</c:v>
                </c:pt>
                <c:pt idx="307">
                  <c:v>100028</c:v>
                </c:pt>
                <c:pt idx="308">
                  <c:v>100232</c:v>
                </c:pt>
                <c:pt idx="309">
                  <c:v>100410</c:v>
                </c:pt>
                <c:pt idx="310">
                  <c:v>100602</c:v>
                </c:pt>
                <c:pt idx="311">
                  <c:v>100811</c:v>
                </c:pt>
                <c:pt idx="312">
                  <c:v>101062</c:v>
                </c:pt>
                <c:pt idx="313">
                  <c:v>101135</c:v>
                </c:pt>
                <c:pt idx="314">
                  <c:v>101179</c:v>
                </c:pt>
                <c:pt idx="315">
                  <c:v>101363</c:v>
                </c:pt>
                <c:pt idx="316">
                  <c:v>101513</c:v>
                </c:pt>
                <c:pt idx="317">
                  <c:v>101677</c:v>
                </c:pt>
                <c:pt idx="318">
                  <c:v>101865</c:v>
                </c:pt>
                <c:pt idx="319">
                  <c:v>102131</c:v>
                </c:pt>
                <c:pt idx="320">
                  <c:v>102185</c:v>
                </c:pt>
                <c:pt idx="321">
                  <c:v>102223</c:v>
                </c:pt>
                <c:pt idx="322">
                  <c:v>102406</c:v>
                </c:pt>
                <c:pt idx="323">
                  <c:v>102618</c:v>
                </c:pt>
                <c:pt idx="324">
                  <c:v>102657</c:v>
                </c:pt>
                <c:pt idx="325">
                  <c:v>102897</c:v>
                </c:pt>
                <c:pt idx="326">
                  <c:v>103176</c:v>
                </c:pt>
                <c:pt idx="327">
                  <c:v>103255</c:v>
                </c:pt>
                <c:pt idx="328">
                  <c:v>103319</c:v>
                </c:pt>
                <c:pt idx="329">
                  <c:v>103506</c:v>
                </c:pt>
                <c:pt idx="330">
                  <c:v>103699</c:v>
                </c:pt>
                <c:pt idx="331">
                  <c:v>103900</c:v>
                </c:pt>
                <c:pt idx="332">
                  <c:v>104112</c:v>
                </c:pt>
                <c:pt idx="333">
                  <c:v>104332</c:v>
                </c:pt>
                <c:pt idx="334">
                  <c:v>104410</c:v>
                </c:pt>
                <c:pt idx="335">
                  <c:v>104433</c:v>
                </c:pt>
                <c:pt idx="336">
                  <c:v>104603</c:v>
                </c:pt>
                <c:pt idx="337">
                  <c:v>104750</c:v>
                </c:pt>
                <c:pt idx="338">
                  <c:v>104911</c:v>
                </c:pt>
                <c:pt idx="339">
                  <c:v>105023</c:v>
                </c:pt>
                <c:pt idx="340">
                  <c:v>105142</c:v>
                </c:pt>
                <c:pt idx="341">
                  <c:v>105164</c:v>
                </c:pt>
                <c:pt idx="342">
                  <c:v>105172</c:v>
                </c:pt>
                <c:pt idx="343">
                  <c:v>105245</c:v>
                </c:pt>
                <c:pt idx="344">
                  <c:v>105322</c:v>
                </c:pt>
                <c:pt idx="345">
                  <c:v>105411</c:v>
                </c:pt>
                <c:pt idx="346">
                  <c:v>105485</c:v>
                </c:pt>
                <c:pt idx="347">
                  <c:v>105572</c:v>
                </c:pt>
                <c:pt idx="348">
                  <c:v>105591</c:v>
                </c:pt>
                <c:pt idx="349">
                  <c:v>105604</c:v>
                </c:pt>
                <c:pt idx="350">
                  <c:v>105680</c:v>
                </c:pt>
                <c:pt idx="351">
                  <c:v>105753</c:v>
                </c:pt>
                <c:pt idx="352">
                  <c:v>105799</c:v>
                </c:pt>
                <c:pt idx="353">
                  <c:v>105873</c:v>
                </c:pt>
                <c:pt idx="354">
                  <c:v>105963</c:v>
                </c:pt>
                <c:pt idx="355">
                  <c:v>105989</c:v>
                </c:pt>
                <c:pt idx="356">
                  <c:v>105998</c:v>
                </c:pt>
                <c:pt idx="357">
                  <c:v>106054</c:v>
                </c:pt>
                <c:pt idx="358">
                  <c:v>106112</c:v>
                </c:pt>
                <c:pt idx="359">
                  <c:v>106151</c:v>
                </c:pt>
                <c:pt idx="360">
                  <c:v>106161</c:v>
                </c:pt>
                <c:pt idx="361">
                  <c:v>106189</c:v>
                </c:pt>
                <c:pt idx="362">
                  <c:v>106218</c:v>
                </c:pt>
                <c:pt idx="363">
                  <c:v>106244</c:v>
                </c:pt>
                <c:pt idx="364">
                  <c:v>106277</c:v>
                </c:pt>
                <c:pt idx="365">
                  <c:v>106279</c:v>
                </c:pt>
                <c:pt idx="366">
                  <c:v>106282</c:v>
                </c:pt>
                <c:pt idx="367">
                  <c:v>106313</c:v>
                </c:pt>
                <c:pt idx="368">
                  <c:v>106356</c:v>
                </c:pt>
                <c:pt idx="369">
                  <c:v>106390</c:v>
                </c:pt>
                <c:pt idx="370">
                  <c:v>106441</c:v>
                </c:pt>
                <c:pt idx="371">
                  <c:v>106518</c:v>
                </c:pt>
                <c:pt idx="372">
                  <c:v>106530</c:v>
                </c:pt>
                <c:pt idx="373">
                  <c:v>106542</c:v>
                </c:pt>
                <c:pt idx="374">
                  <c:v>106579</c:v>
                </c:pt>
                <c:pt idx="375">
                  <c:v>106618</c:v>
                </c:pt>
                <c:pt idx="376">
                  <c:v>106665</c:v>
                </c:pt>
                <c:pt idx="377">
                  <c:v>106714</c:v>
                </c:pt>
                <c:pt idx="378">
                  <c:v>106774</c:v>
                </c:pt>
                <c:pt idx="379">
                  <c:v>106794</c:v>
                </c:pt>
                <c:pt idx="380">
                  <c:v>106804</c:v>
                </c:pt>
                <c:pt idx="381">
                  <c:v>106843</c:v>
                </c:pt>
                <c:pt idx="382">
                  <c:v>106891</c:v>
                </c:pt>
                <c:pt idx="383">
                  <c:v>106918</c:v>
                </c:pt>
                <c:pt idx="384">
                  <c:v>106943</c:v>
                </c:pt>
                <c:pt idx="385">
                  <c:v>106993</c:v>
                </c:pt>
                <c:pt idx="386">
                  <c:v>106997</c:v>
                </c:pt>
                <c:pt idx="387">
                  <c:v>107002</c:v>
                </c:pt>
                <c:pt idx="388">
                  <c:v>107023</c:v>
                </c:pt>
                <c:pt idx="389">
                  <c:v>107042</c:v>
                </c:pt>
                <c:pt idx="390">
                  <c:v>107064</c:v>
                </c:pt>
                <c:pt idx="391">
                  <c:v>107082</c:v>
                </c:pt>
                <c:pt idx="392">
                  <c:v>1071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9B2-46E3-85FE-A83BCF6CC085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round/>
            </a:ln>
            <a:effectLst/>
          </c:spPr>
          <c:marker>
            <c:symbol val="none"/>
          </c:marker>
          <c:cat>
            <c:strRef>
              <c:f>List1!$J$1:$OL$1</c:f>
              <c:strCache>
                <c:ptCount val="393"/>
                <c:pt idx="0">
                  <c:v>28.XII.20</c:v>
                </c:pt>
                <c:pt idx="1">
                  <c:v>29.XII.20</c:v>
                </c:pt>
                <c:pt idx="2">
                  <c:v>30.XII.20</c:v>
                </c:pt>
                <c:pt idx="3">
                  <c:v>31.XII.20</c:v>
                </c:pt>
                <c:pt idx="4">
                  <c:v>1.I.21</c:v>
                </c:pt>
                <c:pt idx="5">
                  <c:v>2.I.21</c:v>
                </c:pt>
                <c:pt idx="6">
                  <c:v>3.I.21</c:v>
                </c:pt>
                <c:pt idx="7">
                  <c:v>4.I.21</c:v>
                </c:pt>
                <c:pt idx="8">
                  <c:v>5.I.21</c:v>
                </c:pt>
                <c:pt idx="9">
                  <c:v>6.I.21</c:v>
                </c:pt>
                <c:pt idx="10">
                  <c:v>7.I.21</c:v>
                </c:pt>
                <c:pt idx="11">
                  <c:v>8.I.21</c:v>
                </c:pt>
                <c:pt idx="12">
                  <c:v>9.I.21</c:v>
                </c:pt>
                <c:pt idx="13">
                  <c:v>10.I.21</c:v>
                </c:pt>
                <c:pt idx="14">
                  <c:v>11.I.21</c:v>
                </c:pt>
                <c:pt idx="15">
                  <c:v>12.I.21</c:v>
                </c:pt>
                <c:pt idx="16">
                  <c:v>13.I.21</c:v>
                </c:pt>
                <c:pt idx="17">
                  <c:v>14.I.21</c:v>
                </c:pt>
                <c:pt idx="18">
                  <c:v>15.I.21</c:v>
                </c:pt>
                <c:pt idx="19">
                  <c:v>16.I.21</c:v>
                </c:pt>
                <c:pt idx="20">
                  <c:v>17.I.21</c:v>
                </c:pt>
                <c:pt idx="21">
                  <c:v>18.I.21</c:v>
                </c:pt>
                <c:pt idx="22">
                  <c:v>19.I.21</c:v>
                </c:pt>
                <c:pt idx="23">
                  <c:v>20.I.21</c:v>
                </c:pt>
                <c:pt idx="24">
                  <c:v>21.I.21</c:v>
                </c:pt>
                <c:pt idx="25">
                  <c:v>22.I.21</c:v>
                </c:pt>
                <c:pt idx="26">
                  <c:v>23.I.21</c:v>
                </c:pt>
                <c:pt idx="27">
                  <c:v>24.I.21</c:v>
                </c:pt>
                <c:pt idx="28">
                  <c:v>25.I.21</c:v>
                </c:pt>
                <c:pt idx="29">
                  <c:v>26.I.21</c:v>
                </c:pt>
                <c:pt idx="30">
                  <c:v>27.I.21</c:v>
                </c:pt>
                <c:pt idx="31">
                  <c:v>28.I.21</c:v>
                </c:pt>
                <c:pt idx="32">
                  <c:v>29.I.21</c:v>
                </c:pt>
                <c:pt idx="33">
                  <c:v>30.I.21</c:v>
                </c:pt>
                <c:pt idx="34">
                  <c:v>31.I.21</c:v>
                </c:pt>
                <c:pt idx="35">
                  <c:v>1.II.21</c:v>
                </c:pt>
                <c:pt idx="36">
                  <c:v>2.II.21</c:v>
                </c:pt>
                <c:pt idx="37">
                  <c:v>3.II.21</c:v>
                </c:pt>
                <c:pt idx="38">
                  <c:v>4.II.21</c:v>
                </c:pt>
                <c:pt idx="39">
                  <c:v>5.II.21</c:v>
                </c:pt>
                <c:pt idx="40">
                  <c:v>6.II.21</c:v>
                </c:pt>
                <c:pt idx="41">
                  <c:v>7.II.21</c:v>
                </c:pt>
                <c:pt idx="42">
                  <c:v>8.II.21</c:v>
                </c:pt>
                <c:pt idx="43">
                  <c:v>9.II.21</c:v>
                </c:pt>
                <c:pt idx="44">
                  <c:v>10.II.21</c:v>
                </c:pt>
                <c:pt idx="45">
                  <c:v>11.II.21</c:v>
                </c:pt>
                <c:pt idx="46">
                  <c:v>12.II.21</c:v>
                </c:pt>
                <c:pt idx="47">
                  <c:v>13.II.21</c:v>
                </c:pt>
                <c:pt idx="48">
                  <c:v>14.II.21</c:v>
                </c:pt>
                <c:pt idx="49">
                  <c:v>15.II.21</c:v>
                </c:pt>
                <c:pt idx="50">
                  <c:v>16.II.21</c:v>
                </c:pt>
                <c:pt idx="51">
                  <c:v>17.II.21</c:v>
                </c:pt>
                <c:pt idx="52">
                  <c:v>18.II.21</c:v>
                </c:pt>
                <c:pt idx="53">
                  <c:v>19.II.21</c:v>
                </c:pt>
                <c:pt idx="54">
                  <c:v>20.II.21</c:v>
                </c:pt>
                <c:pt idx="55">
                  <c:v>21.II.21</c:v>
                </c:pt>
                <c:pt idx="56">
                  <c:v>22.II.21</c:v>
                </c:pt>
                <c:pt idx="57">
                  <c:v>23.II.21</c:v>
                </c:pt>
                <c:pt idx="58">
                  <c:v>24.II.21</c:v>
                </c:pt>
                <c:pt idx="59">
                  <c:v>25.II.21</c:v>
                </c:pt>
                <c:pt idx="60">
                  <c:v>26.II.21</c:v>
                </c:pt>
                <c:pt idx="61">
                  <c:v>27.II.21</c:v>
                </c:pt>
                <c:pt idx="62">
                  <c:v>28.II.21</c:v>
                </c:pt>
                <c:pt idx="63">
                  <c:v>1.III.21</c:v>
                </c:pt>
                <c:pt idx="64">
                  <c:v>2.III.21</c:v>
                </c:pt>
                <c:pt idx="65">
                  <c:v>3.III.21</c:v>
                </c:pt>
                <c:pt idx="66">
                  <c:v>4.III.21</c:v>
                </c:pt>
                <c:pt idx="67">
                  <c:v>5.III.21</c:v>
                </c:pt>
                <c:pt idx="68">
                  <c:v>6.III.21</c:v>
                </c:pt>
                <c:pt idx="69">
                  <c:v>7.III.21</c:v>
                </c:pt>
                <c:pt idx="70">
                  <c:v>8.III.21</c:v>
                </c:pt>
                <c:pt idx="71">
                  <c:v>9.III.21</c:v>
                </c:pt>
                <c:pt idx="72">
                  <c:v>10.III.21</c:v>
                </c:pt>
                <c:pt idx="73">
                  <c:v>11.III.21</c:v>
                </c:pt>
                <c:pt idx="74">
                  <c:v>12.III.21</c:v>
                </c:pt>
                <c:pt idx="75">
                  <c:v>13.III.21</c:v>
                </c:pt>
                <c:pt idx="76">
                  <c:v>14.III.21</c:v>
                </c:pt>
                <c:pt idx="77">
                  <c:v>15.III.21</c:v>
                </c:pt>
                <c:pt idx="78">
                  <c:v>16.III.21</c:v>
                </c:pt>
                <c:pt idx="79">
                  <c:v>17.III.21</c:v>
                </c:pt>
                <c:pt idx="80">
                  <c:v>18.III.21</c:v>
                </c:pt>
                <c:pt idx="81">
                  <c:v>19.III.21</c:v>
                </c:pt>
                <c:pt idx="82">
                  <c:v>20.III.21</c:v>
                </c:pt>
                <c:pt idx="83">
                  <c:v>21.III.21</c:v>
                </c:pt>
                <c:pt idx="84">
                  <c:v>22.III.21</c:v>
                </c:pt>
                <c:pt idx="85">
                  <c:v>23.III.21</c:v>
                </c:pt>
                <c:pt idx="86">
                  <c:v>24.III.21</c:v>
                </c:pt>
                <c:pt idx="87">
                  <c:v>25.III.21</c:v>
                </c:pt>
                <c:pt idx="88">
                  <c:v>26.III.21</c:v>
                </c:pt>
                <c:pt idx="89">
                  <c:v>27.III.21</c:v>
                </c:pt>
                <c:pt idx="90">
                  <c:v>28.III.21</c:v>
                </c:pt>
                <c:pt idx="91">
                  <c:v>29.III.21</c:v>
                </c:pt>
                <c:pt idx="92">
                  <c:v>30.III.21</c:v>
                </c:pt>
                <c:pt idx="93">
                  <c:v>31.III.21</c:v>
                </c:pt>
                <c:pt idx="94">
                  <c:v>1.IV.21</c:v>
                </c:pt>
                <c:pt idx="95">
                  <c:v>2.IV.21</c:v>
                </c:pt>
                <c:pt idx="96">
                  <c:v>3.IV.21</c:v>
                </c:pt>
                <c:pt idx="97">
                  <c:v>4.IV.21</c:v>
                </c:pt>
                <c:pt idx="98">
                  <c:v>5.IV.21</c:v>
                </c:pt>
                <c:pt idx="99">
                  <c:v>6.IV.21</c:v>
                </c:pt>
                <c:pt idx="100">
                  <c:v>7.IV.21</c:v>
                </c:pt>
                <c:pt idx="101">
                  <c:v>8.IV.21</c:v>
                </c:pt>
                <c:pt idx="102">
                  <c:v>9.IV.21</c:v>
                </c:pt>
                <c:pt idx="103">
                  <c:v>10.IV.21</c:v>
                </c:pt>
                <c:pt idx="104">
                  <c:v>11.IV.21</c:v>
                </c:pt>
                <c:pt idx="105">
                  <c:v>12.IV.21</c:v>
                </c:pt>
                <c:pt idx="106">
                  <c:v>13.IV.21</c:v>
                </c:pt>
                <c:pt idx="107">
                  <c:v>14.IV.21</c:v>
                </c:pt>
                <c:pt idx="108">
                  <c:v>15.IV.21</c:v>
                </c:pt>
                <c:pt idx="109">
                  <c:v>16.IV.21</c:v>
                </c:pt>
                <c:pt idx="110">
                  <c:v>17.IV.21</c:v>
                </c:pt>
                <c:pt idx="111">
                  <c:v>18.IV.21</c:v>
                </c:pt>
                <c:pt idx="112">
                  <c:v>19.IV.21</c:v>
                </c:pt>
                <c:pt idx="113">
                  <c:v>20.IV.21</c:v>
                </c:pt>
                <c:pt idx="114">
                  <c:v>21.IV.21</c:v>
                </c:pt>
                <c:pt idx="115">
                  <c:v>22.IV.21</c:v>
                </c:pt>
                <c:pt idx="116">
                  <c:v>23.IV.21</c:v>
                </c:pt>
                <c:pt idx="117">
                  <c:v>24.IV.21</c:v>
                </c:pt>
                <c:pt idx="118">
                  <c:v>25.IV.21</c:v>
                </c:pt>
                <c:pt idx="119">
                  <c:v>26.IV.21</c:v>
                </c:pt>
                <c:pt idx="120">
                  <c:v>27.IV.21</c:v>
                </c:pt>
                <c:pt idx="121">
                  <c:v>28.IV.21</c:v>
                </c:pt>
                <c:pt idx="122">
                  <c:v>29.IV.21</c:v>
                </c:pt>
                <c:pt idx="123">
                  <c:v>30.IV.21</c:v>
                </c:pt>
                <c:pt idx="124">
                  <c:v>1.V.21</c:v>
                </c:pt>
                <c:pt idx="125">
                  <c:v>2.V.21</c:v>
                </c:pt>
                <c:pt idx="126">
                  <c:v>3.V.21</c:v>
                </c:pt>
                <c:pt idx="127">
                  <c:v>4.V.21</c:v>
                </c:pt>
                <c:pt idx="128">
                  <c:v>5.V.21</c:v>
                </c:pt>
                <c:pt idx="129">
                  <c:v>6.V.21</c:v>
                </c:pt>
                <c:pt idx="130">
                  <c:v>7.V.21</c:v>
                </c:pt>
                <c:pt idx="131">
                  <c:v>8.V.21</c:v>
                </c:pt>
                <c:pt idx="132">
                  <c:v>9.V.21</c:v>
                </c:pt>
                <c:pt idx="133">
                  <c:v>10.V.21</c:v>
                </c:pt>
                <c:pt idx="134">
                  <c:v>11.V.21</c:v>
                </c:pt>
                <c:pt idx="135">
                  <c:v>12.V.21</c:v>
                </c:pt>
                <c:pt idx="136">
                  <c:v>13.V.21</c:v>
                </c:pt>
                <c:pt idx="137">
                  <c:v>14.V.21</c:v>
                </c:pt>
                <c:pt idx="138">
                  <c:v>15.V.21</c:v>
                </c:pt>
                <c:pt idx="139">
                  <c:v>16.V.21</c:v>
                </c:pt>
                <c:pt idx="140">
                  <c:v>17.V.21</c:v>
                </c:pt>
                <c:pt idx="141">
                  <c:v>18.V.21</c:v>
                </c:pt>
                <c:pt idx="142">
                  <c:v>19.V.21</c:v>
                </c:pt>
                <c:pt idx="143">
                  <c:v>20.V.21</c:v>
                </c:pt>
                <c:pt idx="144">
                  <c:v>21.V.21</c:v>
                </c:pt>
                <c:pt idx="145">
                  <c:v>22.V.21</c:v>
                </c:pt>
                <c:pt idx="146">
                  <c:v>23.V.21</c:v>
                </c:pt>
                <c:pt idx="147">
                  <c:v>24.V.21</c:v>
                </c:pt>
                <c:pt idx="148">
                  <c:v>25.V.21</c:v>
                </c:pt>
                <c:pt idx="149">
                  <c:v>26.V.21</c:v>
                </c:pt>
                <c:pt idx="150">
                  <c:v>27.V.21</c:v>
                </c:pt>
                <c:pt idx="151">
                  <c:v>28.V.21</c:v>
                </c:pt>
                <c:pt idx="152">
                  <c:v>29.V.21</c:v>
                </c:pt>
                <c:pt idx="153">
                  <c:v>30.V.21</c:v>
                </c:pt>
                <c:pt idx="154">
                  <c:v>31.V.21</c:v>
                </c:pt>
                <c:pt idx="155">
                  <c:v>1.VI.21</c:v>
                </c:pt>
                <c:pt idx="156">
                  <c:v>2.VI.21</c:v>
                </c:pt>
                <c:pt idx="157">
                  <c:v>3.VI.21</c:v>
                </c:pt>
                <c:pt idx="158">
                  <c:v>4.VI.21</c:v>
                </c:pt>
                <c:pt idx="159">
                  <c:v>5.VI.21</c:v>
                </c:pt>
                <c:pt idx="160">
                  <c:v>6.VI.21</c:v>
                </c:pt>
                <c:pt idx="161">
                  <c:v>7.VI.21</c:v>
                </c:pt>
                <c:pt idx="162">
                  <c:v>8.VI.21</c:v>
                </c:pt>
                <c:pt idx="163">
                  <c:v>9.VI.21</c:v>
                </c:pt>
                <c:pt idx="164">
                  <c:v>10.VI.21</c:v>
                </c:pt>
                <c:pt idx="165">
                  <c:v>11.VI.21</c:v>
                </c:pt>
                <c:pt idx="166">
                  <c:v>12.VI.21</c:v>
                </c:pt>
                <c:pt idx="167">
                  <c:v>13.VI.21</c:v>
                </c:pt>
                <c:pt idx="168">
                  <c:v>14.VI.21</c:v>
                </c:pt>
                <c:pt idx="169">
                  <c:v>15.VI.21</c:v>
                </c:pt>
                <c:pt idx="170">
                  <c:v>16.VI.21</c:v>
                </c:pt>
                <c:pt idx="171">
                  <c:v>17.VI.21</c:v>
                </c:pt>
                <c:pt idx="172">
                  <c:v>18.VI.21</c:v>
                </c:pt>
                <c:pt idx="173">
                  <c:v>19.VI.21</c:v>
                </c:pt>
                <c:pt idx="174">
                  <c:v>20.VI.21</c:v>
                </c:pt>
                <c:pt idx="175">
                  <c:v>21.VI.21</c:v>
                </c:pt>
                <c:pt idx="176">
                  <c:v>22.VI.21</c:v>
                </c:pt>
                <c:pt idx="177">
                  <c:v>23.VI.21</c:v>
                </c:pt>
                <c:pt idx="178">
                  <c:v>24.VI.21</c:v>
                </c:pt>
                <c:pt idx="179">
                  <c:v>25.VI.21</c:v>
                </c:pt>
                <c:pt idx="180">
                  <c:v>26.VI.21</c:v>
                </c:pt>
                <c:pt idx="181">
                  <c:v>27.VI.21</c:v>
                </c:pt>
                <c:pt idx="182">
                  <c:v>28.VI.21</c:v>
                </c:pt>
                <c:pt idx="183">
                  <c:v>29.VI.21</c:v>
                </c:pt>
                <c:pt idx="184">
                  <c:v>30.VI.21</c:v>
                </c:pt>
                <c:pt idx="185">
                  <c:v>1.VII.21</c:v>
                </c:pt>
                <c:pt idx="186">
                  <c:v>2.VII.21</c:v>
                </c:pt>
                <c:pt idx="187">
                  <c:v>3.VII.21</c:v>
                </c:pt>
                <c:pt idx="188">
                  <c:v>4.VII.21</c:v>
                </c:pt>
                <c:pt idx="189">
                  <c:v>5.VII.21</c:v>
                </c:pt>
                <c:pt idx="190">
                  <c:v>6.VII.21</c:v>
                </c:pt>
                <c:pt idx="191">
                  <c:v>7.VII.21</c:v>
                </c:pt>
                <c:pt idx="192">
                  <c:v>8.VII.21</c:v>
                </c:pt>
                <c:pt idx="193">
                  <c:v>9.VII.21</c:v>
                </c:pt>
                <c:pt idx="194">
                  <c:v>10.VII.21</c:v>
                </c:pt>
                <c:pt idx="195">
                  <c:v>11.VII.21</c:v>
                </c:pt>
                <c:pt idx="196">
                  <c:v>12.VII.21</c:v>
                </c:pt>
                <c:pt idx="197">
                  <c:v>13.VII.21</c:v>
                </c:pt>
                <c:pt idx="198">
                  <c:v>14.VII.21</c:v>
                </c:pt>
                <c:pt idx="199">
                  <c:v>15.VII.21</c:v>
                </c:pt>
                <c:pt idx="200">
                  <c:v>16.VII.21</c:v>
                </c:pt>
                <c:pt idx="201">
                  <c:v>17.VII.21</c:v>
                </c:pt>
                <c:pt idx="202">
                  <c:v>18.VII.21</c:v>
                </c:pt>
                <c:pt idx="203">
                  <c:v>19.VII.21</c:v>
                </c:pt>
                <c:pt idx="204">
                  <c:v>20.VII.21</c:v>
                </c:pt>
                <c:pt idx="205">
                  <c:v>21.VII.21</c:v>
                </c:pt>
                <c:pt idx="206">
                  <c:v>22.VII.21</c:v>
                </c:pt>
                <c:pt idx="207">
                  <c:v>23.VII.21</c:v>
                </c:pt>
                <c:pt idx="208">
                  <c:v>24.VII.21</c:v>
                </c:pt>
                <c:pt idx="209">
                  <c:v>25.VII.21</c:v>
                </c:pt>
                <c:pt idx="210">
                  <c:v>26.VII.21</c:v>
                </c:pt>
                <c:pt idx="211">
                  <c:v>27.VII.21</c:v>
                </c:pt>
                <c:pt idx="212">
                  <c:v>28.VII.21</c:v>
                </c:pt>
                <c:pt idx="213">
                  <c:v>29.VII.21</c:v>
                </c:pt>
                <c:pt idx="214">
                  <c:v>30.VII.21</c:v>
                </c:pt>
                <c:pt idx="215">
                  <c:v>31.VII.21</c:v>
                </c:pt>
                <c:pt idx="216">
                  <c:v>1.VIII.21</c:v>
                </c:pt>
                <c:pt idx="217">
                  <c:v>2.VIII.21</c:v>
                </c:pt>
                <c:pt idx="218">
                  <c:v>3.VIII.21</c:v>
                </c:pt>
                <c:pt idx="219">
                  <c:v>4.VIII.21</c:v>
                </c:pt>
                <c:pt idx="220">
                  <c:v>5.VIII.21</c:v>
                </c:pt>
                <c:pt idx="221">
                  <c:v>6.VIII.21</c:v>
                </c:pt>
                <c:pt idx="222">
                  <c:v>7.VIII.21</c:v>
                </c:pt>
                <c:pt idx="223">
                  <c:v>8.VIII.21</c:v>
                </c:pt>
                <c:pt idx="224">
                  <c:v>9.VIII.21</c:v>
                </c:pt>
                <c:pt idx="225">
                  <c:v>10.VIII.21</c:v>
                </c:pt>
                <c:pt idx="226">
                  <c:v>11.VIII.21</c:v>
                </c:pt>
                <c:pt idx="227">
                  <c:v>12.VIII.21</c:v>
                </c:pt>
                <c:pt idx="228">
                  <c:v>13.VIII.21</c:v>
                </c:pt>
                <c:pt idx="229">
                  <c:v>14.VIII.21</c:v>
                </c:pt>
                <c:pt idx="230">
                  <c:v>15.VIII.21</c:v>
                </c:pt>
                <c:pt idx="231">
                  <c:v>16.VIII.21</c:v>
                </c:pt>
                <c:pt idx="232">
                  <c:v>17.VIII.21</c:v>
                </c:pt>
                <c:pt idx="233">
                  <c:v>18.VIII.21</c:v>
                </c:pt>
                <c:pt idx="234">
                  <c:v>19.VIII.21</c:v>
                </c:pt>
                <c:pt idx="235">
                  <c:v>20.VIII.21</c:v>
                </c:pt>
                <c:pt idx="236">
                  <c:v>21.VIII.21</c:v>
                </c:pt>
                <c:pt idx="237">
                  <c:v>22.VIII.21</c:v>
                </c:pt>
                <c:pt idx="238">
                  <c:v>23.VIII.21</c:v>
                </c:pt>
                <c:pt idx="239">
                  <c:v>24.VIII.21</c:v>
                </c:pt>
                <c:pt idx="240">
                  <c:v>25.VIII.21</c:v>
                </c:pt>
                <c:pt idx="241">
                  <c:v>26.VIII.21</c:v>
                </c:pt>
                <c:pt idx="242">
                  <c:v>27.VIII.21</c:v>
                </c:pt>
                <c:pt idx="243">
                  <c:v>28.VIII.21</c:v>
                </c:pt>
                <c:pt idx="244">
                  <c:v>29.VIII.21</c:v>
                </c:pt>
                <c:pt idx="245">
                  <c:v>30.VIII.21</c:v>
                </c:pt>
                <c:pt idx="246">
                  <c:v>31.VIII.21</c:v>
                </c:pt>
                <c:pt idx="247">
                  <c:v>1.IX.21</c:v>
                </c:pt>
                <c:pt idx="248">
                  <c:v>2.IX.21</c:v>
                </c:pt>
                <c:pt idx="249">
                  <c:v>3.IX.21</c:v>
                </c:pt>
                <c:pt idx="250">
                  <c:v>4.IX.21</c:v>
                </c:pt>
                <c:pt idx="251">
                  <c:v>5.IX.21</c:v>
                </c:pt>
                <c:pt idx="252">
                  <c:v>6.IX.21</c:v>
                </c:pt>
                <c:pt idx="253">
                  <c:v>7.IX.21</c:v>
                </c:pt>
                <c:pt idx="254">
                  <c:v>8.IX.21</c:v>
                </c:pt>
                <c:pt idx="255">
                  <c:v>9.IX.21</c:v>
                </c:pt>
                <c:pt idx="256">
                  <c:v>10.IX.21</c:v>
                </c:pt>
                <c:pt idx="257">
                  <c:v>11.IX.21</c:v>
                </c:pt>
                <c:pt idx="258">
                  <c:v>12.IX.21</c:v>
                </c:pt>
                <c:pt idx="259">
                  <c:v>13.IX.21</c:v>
                </c:pt>
                <c:pt idx="260">
                  <c:v>14.IX.21</c:v>
                </c:pt>
                <c:pt idx="261">
                  <c:v>15.IX.21</c:v>
                </c:pt>
                <c:pt idx="262">
                  <c:v>16.IX.21</c:v>
                </c:pt>
                <c:pt idx="263">
                  <c:v>17.IX.21</c:v>
                </c:pt>
                <c:pt idx="264">
                  <c:v>18.IX.21</c:v>
                </c:pt>
                <c:pt idx="265">
                  <c:v>19.IX.21</c:v>
                </c:pt>
                <c:pt idx="266">
                  <c:v>20.IX.21</c:v>
                </c:pt>
                <c:pt idx="267">
                  <c:v>21.IX.21</c:v>
                </c:pt>
                <c:pt idx="268">
                  <c:v>22.IX.21</c:v>
                </c:pt>
                <c:pt idx="269">
                  <c:v>23.IX.21</c:v>
                </c:pt>
                <c:pt idx="270">
                  <c:v>24.IX.21</c:v>
                </c:pt>
                <c:pt idx="271">
                  <c:v>25.IX.21</c:v>
                </c:pt>
                <c:pt idx="272">
                  <c:v>26.IX.21</c:v>
                </c:pt>
                <c:pt idx="273">
                  <c:v>27.IX.21</c:v>
                </c:pt>
                <c:pt idx="274">
                  <c:v>28.IX.21</c:v>
                </c:pt>
                <c:pt idx="275">
                  <c:v>29.IX.21</c:v>
                </c:pt>
                <c:pt idx="276">
                  <c:v>30.IX.21</c:v>
                </c:pt>
                <c:pt idx="277">
                  <c:v>1.X.21</c:v>
                </c:pt>
                <c:pt idx="278">
                  <c:v>2.X.21</c:v>
                </c:pt>
                <c:pt idx="279">
                  <c:v>3.X.21</c:v>
                </c:pt>
                <c:pt idx="280">
                  <c:v>4.X.21</c:v>
                </c:pt>
                <c:pt idx="281">
                  <c:v>5.X.21</c:v>
                </c:pt>
                <c:pt idx="282">
                  <c:v>6.X.21</c:v>
                </c:pt>
                <c:pt idx="283">
                  <c:v>7.X.21</c:v>
                </c:pt>
                <c:pt idx="284">
                  <c:v>8.X.21</c:v>
                </c:pt>
                <c:pt idx="285">
                  <c:v>9.X.21</c:v>
                </c:pt>
                <c:pt idx="286">
                  <c:v>10.X.21</c:v>
                </c:pt>
                <c:pt idx="287">
                  <c:v>11.X.21</c:v>
                </c:pt>
                <c:pt idx="288">
                  <c:v>12.X.21</c:v>
                </c:pt>
                <c:pt idx="289">
                  <c:v>13.X.21</c:v>
                </c:pt>
                <c:pt idx="290">
                  <c:v>14.X.21</c:v>
                </c:pt>
                <c:pt idx="291">
                  <c:v>15.X.21</c:v>
                </c:pt>
                <c:pt idx="292">
                  <c:v>16.X.21</c:v>
                </c:pt>
                <c:pt idx="293">
                  <c:v>17.X.21</c:v>
                </c:pt>
                <c:pt idx="294">
                  <c:v>18.X.21</c:v>
                </c:pt>
                <c:pt idx="295">
                  <c:v>19.X.21</c:v>
                </c:pt>
                <c:pt idx="296">
                  <c:v>20.X.21</c:v>
                </c:pt>
                <c:pt idx="297">
                  <c:v>21.X.21</c:v>
                </c:pt>
                <c:pt idx="298">
                  <c:v>22.X.21</c:v>
                </c:pt>
                <c:pt idx="299">
                  <c:v>23.X.21</c:v>
                </c:pt>
                <c:pt idx="300">
                  <c:v>24.X.21</c:v>
                </c:pt>
                <c:pt idx="301">
                  <c:v>25.X.21</c:v>
                </c:pt>
                <c:pt idx="302">
                  <c:v>26.X.21</c:v>
                </c:pt>
                <c:pt idx="303">
                  <c:v>27.X.21</c:v>
                </c:pt>
                <c:pt idx="304">
                  <c:v>28.X.21</c:v>
                </c:pt>
                <c:pt idx="305">
                  <c:v>29.X.21</c:v>
                </c:pt>
                <c:pt idx="306">
                  <c:v>30.X.21</c:v>
                </c:pt>
                <c:pt idx="307">
                  <c:v>31.X.21</c:v>
                </c:pt>
                <c:pt idx="308">
                  <c:v>1.XI.21</c:v>
                </c:pt>
                <c:pt idx="309">
                  <c:v>2.XI.21</c:v>
                </c:pt>
                <c:pt idx="310">
                  <c:v>3.XI.21</c:v>
                </c:pt>
                <c:pt idx="311">
                  <c:v>4.XI.21</c:v>
                </c:pt>
                <c:pt idx="312">
                  <c:v>5.XI.21</c:v>
                </c:pt>
                <c:pt idx="313">
                  <c:v>6.XI.21</c:v>
                </c:pt>
                <c:pt idx="314">
                  <c:v>7.XI.21</c:v>
                </c:pt>
                <c:pt idx="315">
                  <c:v>8.XI.21</c:v>
                </c:pt>
                <c:pt idx="316">
                  <c:v>9.XI.21</c:v>
                </c:pt>
                <c:pt idx="317">
                  <c:v>10.XI.21</c:v>
                </c:pt>
                <c:pt idx="318">
                  <c:v>11.XI.21</c:v>
                </c:pt>
                <c:pt idx="319">
                  <c:v>12.XI.21</c:v>
                </c:pt>
                <c:pt idx="320">
                  <c:v>13.XI.21</c:v>
                </c:pt>
                <c:pt idx="321">
                  <c:v>14.XI.21</c:v>
                </c:pt>
                <c:pt idx="322">
                  <c:v>15.XI.21</c:v>
                </c:pt>
                <c:pt idx="323">
                  <c:v>16.XI.21</c:v>
                </c:pt>
                <c:pt idx="324">
                  <c:v>17.XI.21</c:v>
                </c:pt>
                <c:pt idx="325">
                  <c:v>18.XI.21</c:v>
                </c:pt>
                <c:pt idx="326">
                  <c:v>19.XI.21</c:v>
                </c:pt>
                <c:pt idx="327">
                  <c:v>20.XI.21</c:v>
                </c:pt>
                <c:pt idx="328">
                  <c:v>21.XI.21</c:v>
                </c:pt>
                <c:pt idx="329">
                  <c:v>22.XI.21</c:v>
                </c:pt>
                <c:pt idx="330">
                  <c:v>23.XI.21</c:v>
                </c:pt>
                <c:pt idx="331">
                  <c:v>24.XI.21</c:v>
                </c:pt>
                <c:pt idx="332">
                  <c:v>25.XI.21</c:v>
                </c:pt>
                <c:pt idx="333">
                  <c:v>26.XI.21</c:v>
                </c:pt>
                <c:pt idx="334">
                  <c:v>27.XI.21</c:v>
                </c:pt>
                <c:pt idx="335">
                  <c:v>28.XI.21</c:v>
                </c:pt>
                <c:pt idx="336">
                  <c:v>29.XI.21</c:v>
                </c:pt>
                <c:pt idx="337">
                  <c:v>30.XI.21</c:v>
                </c:pt>
                <c:pt idx="338">
                  <c:v>1.XII.21</c:v>
                </c:pt>
                <c:pt idx="339">
                  <c:v>2.XII.21</c:v>
                </c:pt>
                <c:pt idx="340">
                  <c:v>3.XII.21</c:v>
                </c:pt>
                <c:pt idx="341">
                  <c:v>4.XII.21</c:v>
                </c:pt>
                <c:pt idx="342">
                  <c:v>5.XII.21</c:v>
                </c:pt>
                <c:pt idx="343">
                  <c:v>6.XII.21</c:v>
                </c:pt>
                <c:pt idx="344">
                  <c:v>7.XII.21</c:v>
                </c:pt>
                <c:pt idx="345">
                  <c:v>8.XII.21</c:v>
                </c:pt>
                <c:pt idx="346">
                  <c:v>9.XII.21</c:v>
                </c:pt>
                <c:pt idx="347">
                  <c:v>10.XII.21</c:v>
                </c:pt>
                <c:pt idx="348">
                  <c:v>11.XII.21</c:v>
                </c:pt>
                <c:pt idx="349">
                  <c:v>12.XII.21</c:v>
                </c:pt>
                <c:pt idx="350">
                  <c:v>13.XII.21</c:v>
                </c:pt>
                <c:pt idx="351">
                  <c:v>14.XII.21</c:v>
                </c:pt>
                <c:pt idx="352">
                  <c:v>15.XII.21</c:v>
                </c:pt>
                <c:pt idx="353">
                  <c:v>16.XII.21</c:v>
                </c:pt>
                <c:pt idx="354">
                  <c:v>17.XII.21</c:v>
                </c:pt>
                <c:pt idx="355">
                  <c:v>18.XII.21</c:v>
                </c:pt>
                <c:pt idx="356">
                  <c:v>19.XII.21</c:v>
                </c:pt>
                <c:pt idx="357">
                  <c:v>20.XII.21</c:v>
                </c:pt>
                <c:pt idx="358">
                  <c:v>21.XII.21</c:v>
                </c:pt>
                <c:pt idx="359">
                  <c:v>22.XII.21</c:v>
                </c:pt>
                <c:pt idx="360">
                  <c:v>23.XII.21</c:v>
                </c:pt>
                <c:pt idx="361">
                  <c:v>27.XII.21</c:v>
                </c:pt>
                <c:pt idx="362">
                  <c:v>28.XII.21</c:v>
                </c:pt>
                <c:pt idx="363">
                  <c:v>29.XII.21</c:v>
                </c:pt>
                <c:pt idx="364">
                  <c:v>30.XII.21</c:v>
                </c:pt>
                <c:pt idx="365">
                  <c:v>31.XII.21</c:v>
                </c:pt>
                <c:pt idx="366">
                  <c:v>2.I.22</c:v>
                </c:pt>
                <c:pt idx="367">
                  <c:v>3.I.22</c:v>
                </c:pt>
                <c:pt idx="368">
                  <c:v>4.I.22</c:v>
                </c:pt>
                <c:pt idx="369">
                  <c:v>5.I.22</c:v>
                </c:pt>
                <c:pt idx="370">
                  <c:v>6.I.22</c:v>
                </c:pt>
                <c:pt idx="371">
                  <c:v>7.I.22</c:v>
                </c:pt>
                <c:pt idx="372">
                  <c:v>8.I.22</c:v>
                </c:pt>
                <c:pt idx="373">
                  <c:v>9.I.22</c:v>
                </c:pt>
                <c:pt idx="374">
                  <c:v>10.I.22</c:v>
                </c:pt>
                <c:pt idx="375">
                  <c:v>11.I.22</c:v>
                </c:pt>
                <c:pt idx="376">
                  <c:v>12.I.22</c:v>
                </c:pt>
                <c:pt idx="377">
                  <c:v>13.I.22</c:v>
                </c:pt>
                <c:pt idx="378">
                  <c:v>14.I.22</c:v>
                </c:pt>
                <c:pt idx="379">
                  <c:v>15.I.22</c:v>
                </c:pt>
                <c:pt idx="380">
                  <c:v>16.I.22</c:v>
                </c:pt>
                <c:pt idx="381">
                  <c:v>17.I.22</c:v>
                </c:pt>
                <c:pt idx="382">
                  <c:v>18.I.22</c:v>
                </c:pt>
                <c:pt idx="383">
                  <c:v>19.I.22</c:v>
                </c:pt>
                <c:pt idx="384">
                  <c:v>20.I.22</c:v>
                </c:pt>
                <c:pt idx="385">
                  <c:v>21.I.22</c:v>
                </c:pt>
                <c:pt idx="386">
                  <c:v>22.I.22</c:v>
                </c:pt>
                <c:pt idx="387">
                  <c:v>23.I.22</c:v>
                </c:pt>
                <c:pt idx="388">
                  <c:v>24.I.22</c:v>
                </c:pt>
                <c:pt idx="389">
                  <c:v>25.I.22</c:v>
                </c:pt>
                <c:pt idx="390">
                  <c:v>26.I.22</c:v>
                </c:pt>
                <c:pt idx="391">
                  <c:v>27.I.22</c:v>
                </c:pt>
                <c:pt idx="392">
                  <c:v>28.I.22</c:v>
                </c:pt>
              </c:strCache>
            </c:strRef>
          </c:cat>
          <c:val>
            <c:numRef>
              <c:f>List1!$J$5:$OL$5</c:f>
              <c:numCache>
                <c:formatCode>General</c:formatCode>
                <c:ptCount val="393"/>
                <c:pt idx="0">
                  <c:v>1180</c:v>
                </c:pt>
                <c:pt idx="1">
                  <c:v>2129</c:v>
                </c:pt>
                <c:pt idx="2">
                  <c:v>3072</c:v>
                </c:pt>
                <c:pt idx="3">
                  <c:v>3410</c:v>
                </c:pt>
                <c:pt idx="4">
                  <c:v>3499</c:v>
                </c:pt>
                <c:pt idx="5">
                  <c:v>3891</c:v>
                </c:pt>
                <c:pt idx="6">
                  <c:v>4204</c:v>
                </c:pt>
                <c:pt idx="7">
                  <c:v>5399</c:v>
                </c:pt>
                <c:pt idx="8">
                  <c:v>6710</c:v>
                </c:pt>
                <c:pt idx="9">
                  <c:v>8207</c:v>
                </c:pt>
                <c:pt idx="10">
                  <c:v>9883</c:v>
                </c:pt>
                <c:pt idx="11">
                  <c:v>11693</c:v>
                </c:pt>
                <c:pt idx="12">
                  <c:v>12102</c:v>
                </c:pt>
                <c:pt idx="13">
                  <c:v>12395</c:v>
                </c:pt>
                <c:pt idx="14">
                  <c:v>14142</c:v>
                </c:pt>
                <c:pt idx="15">
                  <c:v>16089</c:v>
                </c:pt>
                <c:pt idx="16">
                  <c:v>17792</c:v>
                </c:pt>
                <c:pt idx="17">
                  <c:v>19694</c:v>
                </c:pt>
                <c:pt idx="18">
                  <c:v>21497</c:v>
                </c:pt>
                <c:pt idx="19">
                  <c:v>21832</c:v>
                </c:pt>
                <c:pt idx="20">
                  <c:v>22057</c:v>
                </c:pt>
                <c:pt idx="21">
                  <c:v>23615</c:v>
                </c:pt>
                <c:pt idx="22">
                  <c:v>24794</c:v>
                </c:pt>
                <c:pt idx="23">
                  <c:v>25921</c:v>
                </c:pt>
                <c:pt idx="24">
                  <c:v>26921</c:v>
                </c:pt>
                <c:pt idx="25">
                  <c:v>27750</c:v>
                </c:pt>
                <c:pt idx="26">
                  <c:v>27919</c:v>
                </c:pt>
                <c:pt idx="27">
                  <c:v>28001</c:v>
                </c:pt>
                <c:pt idx="28">
                  <c:v>28512</c:v>
                </c:pt>
                <c:pt idx="29">
                  <c:v>29051</c:v>
                </c:pt>
                <c:pt idx="30">
                  <c:v>29450</c:v>
                </c:pt>
                <c:pt idx="31">
                  <c:v>29828</c:v>
                </c:pt>
                <c:pt idx="32">
                  <c:v>30160</c:v>
                </c:pt>
                <c:pt idx="33">
                  <c:v>30185</c:v>
                </c:pt>
                <c:pt idx="34">
                  <c:v>30206</c:v>
                </c:pt>
                <c:pt idx="35">
                  <c:v>30450</c:v>
                </c:pt>
                <c:pt idx="36">
                  <c:v>30686</c:v>
                </c:pt>
                <c:pt idx="37">
                  <c:v>30909</c:v>
                </c:pt>
                <c:pt idx="38">
                  <c:v>31104</c:v>
                </c:pt>
                <c:pt idx="39">
                  <c:v>31380</c:v>
                </c:pt>
                <c:pt idx="40">
                  <c:v>31400</c:v>
                </c:pt>
                <c:pt idx="41">
                  <c:v>31412</c:v>
                </c:pt>
                <c:pt idx="42">
                  <c:v>31548</c:v>
                </c:pt>
                <c:pt idx="43">
                  <c:v>31686</c:v>
                </c:pt>
                <c:pt idx="44">
                  <c:v>31881</c:v>
                </c:pt>
                <c:pt idx="45">
                  <c:v>32112</c:v>
                </c:pt>
                <c:pt idx="46">
                  <c:v>32390</c:v>
                </c:pt>
                <c:pt idx="47">
                  <c:v>32489</c:v>
                </c:pt>
                <c:pt idx="48">
                  <c:v>32553</c:v>
                </c:pt>
                <c:pt idx="49">
                  <c:v>32909</c:v>
                </c:pt>
                <c:pt idx="50">
                  <c:v>33207</c:v>
                </c:pt>
                <c:pt idx="51">
                  <c:v>33467</c:v>
                </c:pt>
                <c:pt idx="52">
                  <c:v>33805</c:v>
                </c:pt>
                <c:pt idx="53">
                  <c:v>34251</c:v>
                </c:pt>
                <c:pt idx="54">
                  <c:v>34357</c:v>
                </c:pt>
                <c:pt idx="55">
                  <c:v>34404</c:v>
                </c:pt>
                <c:pt idx="56">
                  <c:v>34715</c:v>
                </c:pt>
                <c:pt idx="57">
                  <c:v>35195</c:v>
                </c:pt>
                <c:pt idx="58">
                  <c:v>35793</c:v>
                </c:pt>
                <c:pt idx="59">
                  <c:v>36447</c:v>
                </c:pt>
                <c:pt idx="60">
                  <c:v>36990</c:v>
                </c:pt>
                <c:pt idx="61">
                  <c:v>37064</c:v>
                </c:pt>
                <c:pt idx="62">
                  <c:v>37107</c:v>
                </c:pt>
                <c:pt idx="63">
                  <c:v>37654</c:v>
                </c:pt>
                <c:pt idx="64">
                  <c:v>38250</c:v>
                </c:pt>
                <c:pt idx="65">
                  <c:v>38810</c:v>
                </c:pt>
                <c:pt idx="66">
                  <c:v>39354</c:v>
                </c:pt>
                <c:pt idx="67">
                  <c:v>39947</c:v>
                </c:pt>
                <c:pt idx="68">
                  <c:v>40114</c:v>
                </c:pt>
                <c:pt idx="69">
                  <c:v>40223</c:v>
                </c:pt>
                <c:pt idx="70">
                  <c:v>40549</c:v>
                </c:pt>
                <c:pt idx="71">
                  <c:v>40947</c:v>
                </c:pt>
                <c:pt idx="72">
                  <c:v>41350</c:v>
                </c:pt>
                <c:pt idx="73">
                  <c:v>41829</c:v>
                </c:pt>
                <c:pt idx="74">
                  <c:v>42234</c:v>
                </c:pt>
                <c:pt idx="75">
                  <c:v>42373</c:v>
                </c:pt>
                <c:pt idx="76">
                  <c:v>42458</c:v>
                </c:pt>
                <c:pt idx="77">
                  <c:v>42711</c:v>
                </c:pt>
                <c:pt idx="78">
                  <c:v>43073</c:v>
                </c:pt>
                <c:pt idx="79">
                  <c:v>43429</c:v>
                </c:pt>
                <c:pt idx="80">
                  <c:v>43784</c:v>
                </c:pt>
                <c:pt idx="81">
                  <c:v>44114</c:v>
                </c:pt>
                <c:pt idx="82">
                  <c:v>44229</c:v>
                </c:pt>
                <c:pt idx="83">
                  <c:v>44299</c:v>
                </c:pt>
                <c:pt idx="84">
                  <c:v>44473</c:v>
                </c:pt>
                <c:pt idx="85">
                  <c:v>44666</c:v>
                </c:pt>
                <c:pt idx="86">
                  <c:v>44813</c:v>
                </c:pt>
                <c:pt idx="87">
                  <c:v>45007</c:v>
                </c:pt>
                <c:pt idx="88">
                  <c:v>45226</c:v>
                </c:pt>
                <c:pt idx="89">
                  <c:v>45289</c:v>
                </c:pt>
                <c:pt idx="90">
                  <c:v>45331</c:v>
                </c:pt>
                <c:pt idx="91">
                  <c:v>45456</c:v>
                </c:pt>
                <c:pt idx="92">
                  <c:v>45616</c:v>
                </c:pt>
                <c:pt idx="93">
                  <c:v>45775</c:v>
                </c:pt>
                <c:pt idx="94">
                  <c:v>45995</c:v>
                </c:pt>
                <c:pt idx="95">
                  <c:v>46071</c:v>
                </c:pt>
                <c:pt idx="96">
                  <c:v>46091</c:v>
                </c:pt>
                <c:pt idx="97">
                  <c:v>46120</c:v>
                </c:pt>
                <c:pt idx="98">
                  <c:v>46127</c:v>
                </c:pt>
                <c:pt idx="99">
                  <c:v>46217</c:v>
                </c:pt>
                <c:pt idx="100">
                  <c:v>46310</c:v>
                </c:pt>
                <c:pt idx="101">
                  <c:v>46479</c:v>
                </c:pt>
                <c:pt idx="102">
                  <c:v>46679</c:v>
                </c:pt>
                <c:pt idx="103">
                  <c:v>46724</c:v>
                </c:pt>
                <c:pt idx="104">
                  <c:v>46757</c:v>
                </c:pt>
                <c:pt idx="105">
                  <c:v>46893</c:v>
                </c:pt>
                <c:pt idx="106">
                  <c:v>47015</c:v>
                </c:pt>
                <c:pt idx="107">
                  <c:v>47120</c:v>
                </c:pt>
                <c:pt idx="108">
                  <c:v>47277</c:v>
                </c:pt>
                <c:pt idx="109">
                  <c:v>47452</c:v>
                </c:pt>
                <c:pt idx="110">
                  <c:v>47493</c:v>
                </c:pt>
                <c:pt idx="111">
                  <c:v>47548</c:v>
                </c:pt>
                <c:pt idx="112">
                  <c:v>47675</c:v>
                </c:pt>
                <c:pt idx="113">
                  <c:v>47794</c:v>
                </c:pt>
                <c:pt idx="114">
                  <c:v>47928</c:v>
                </c:pt>
                <c:pt idx="115">
                  <c:v>48075</c:v>
                </c:pt>
                <c:pt idx="116">
                  <c:v>48232</c:v>
                </c:pt>
                <c:pt idx="117">
                  <c:v>48288</c:v>
                </c:pt>
                <c:pt idx="118">
                  <c:v>48323</c:v>
                </c:pt>
                <c:pt idx="119">
                  <c:v>48435</c:v>
                </c:pt>
                <c:pt idx="120">
                  <c:v>48556</c:v>
                </c:pt>
                <c:pt idx="121">
                  <c:v>48677</c:v>
                </c:pt>
                <c:pt idx="122">
                  <c:v>48809</c:v>
                </c:pt>
                <c:pt idx="123">
                  <c:v>48948</c:v>
                </c:pt>
                <c:pt idx="124">
                  <c:v>48977</c:v>
                </c:pt>
                <c:pt idx="125">
                  <c:v>49007</c:v>
                </c:pt>
                <c:pt idx="126">
                  <c:v>49128</c:v>
                </c:pt>
                <c:pt idx="127">
                  <c:v>49253</c:v>
                </c:pt>
                <c:pt idx="128">
                  <c:v>49350</c:v>
                </c:pt>
                <c:pt idx="129">
                  <c:v>49467</c:v>
                </c:pt>
                <c:pt idx="130">
                  <c:v>49640</c:v>
                </c:pt>
                <c:pt idx="131">
                  <c:v>49703</c:v>
                </c:pt>
                <c:pt idx="132">
                  <c:v>49735</c:v>
                </c:pt>
                <c:pt idx="133">
                  <c:v>49835</c:v>
                </c:pt>
                <c:pt idx="134">
                  <c:v>49951</c:v>
                </c:pt>
                <c:pt idx="135">
                  <c:v>50081</c:v>
                </c:pt>
                <c:pt idx="136">
                  <c:v>50241</c:v>
                </c:pt>
                <c:pt idx="137">
                  <c:v>50368</c:v>
                </c:pt>
                <c:pt idx="138">
                  <c:v>50439</c:v>
                </c:pt>
                <c:pt idx="139">
                  <c:v>50471</c:v>
                </c:pt>
                <c:pt idx="140">
                  <c:v>50553</c:v>
                </c:pt>
                <c:pt idx="141">
                  <c:v>50645</c:v>
                </c:pt>
                <c:pt idx="142">
                  <c:v>50730</c:v>
                </c:pt>
                <c:pt idx="143">
                  <c:v>50830</c:v>
                </c:pt>
                <c:pt idx="144">
                  <c:v>50937</c:v>
                </c:pt>
                <c:pt idx="145">
                  <c:v>50968</c:v>
                </c:pt>
                <c:pt idx="146">
                  <c:v>50983</c:v>
                </c:pt>
                <c:pt idx="147">
                  <c:v>51032</c:v>
                </c:pt>
                <c:pt idx="148">
                  <c:v>51092</c:v>
                </c:pt>
                <c:pt idx="149">
                  <c:v>51184</c:v>
                </c:pt>
                <c:pt idx="150">
                  <c:v>51265</c:v>
                </c:pt>
                <c:pt idx="151">
                  <c:v>51369</c:v>
                </c:pt>
                <c:pt idx="152">
                  <c:v>51406</c:v>
                </c:pt>
                <c:pt idx="153">
                  <c:v>51439</c:v>
                </c:pt>
                <c:pt idx="154">
                  <c:v>51513</c:v>
                </c:pt>
                <c:pt idx="155">
                  <c:v>51594</c:v>
                </c:pt>
                <c:pt idx="156">
                  <c:v>51688</c:v>
                </c:pt>
                <c:pt idx="157">
                  <c:v>51758</c:v>
                </c:pt>
                <c:pt idx="158">
                  <c:v>51856</c:v>
                </c:pt>
                <c:pt idx="159">
                  <c:v>51883</c:v>
                </c:pt>
                <c:pt idx="160">
                  <c:v>51916</c:v>
                </c:pt>
                <c:pt idx="161">
                  <c:v>51997</c:v>
                </c:pt>
                <c:pt idx="162">
                  <c:v>52095</c:v>
                </c:pt>
                <c:pt idx="163">
                  <c:v>52180</c:v>
                </c:pt>
                <c:pt idx="164">
                  <c:v>52265</c:v>
                </c:pt>
                <c:pt idx="165">
                  <c:v>52359</c:v>
                </c:pt>
                <c:pt idx="166">
                  <c:v>52388</c:v>
                </c:pt>
                <c:pt idx="167">
                  <c:v>52418</c:v>
                </c:pt>
                <c:pt idx="168">
                  <c:v>52488</c:v>
                </c:pt>
                <c:pt idx="169">
                  <c:v>52543</c:v>
                </c:pt>
                <c:pt idx="170">
                  <c:v>52618</c:v>
                </c:pt>
                <c:pt idx="171">
                  <c:v>52697</c:v>
                </c:pt>
                <c:pt idx="172">
                  <c:v>52775</c:v>
                </c:pt>
                <c:pt idx="173">
                  <c:v>52802</c:v>
                </c:pt>
                <c:pt idx="174">
                  <c:v>52827</c:v>
                </c:pt>
                <c:pt idx="175">
                  <c:v>52865</c:v>
                </c:pt>
                <c:pt idx="176">
                  <c:v>52915</c:v>
                </c:pt>
                <c:pt idx="177">
                  <c:v>52970</c:v>
                </c:pt>
                <c:pt idx="178">
                  <c:v>53022</c:v>
                </c:pt>
                <c:pt idx="179">
                  <c:v>53079</c:v>
                </c:pt>
                <c:pt idx="180">
                  <c:v>53093</c:v>
                </c:pt>
                <c:pt idx="181">
                  <c:v>53105</c:v>
                </c:pt>
                <c:pt idx="182">
                  <c:v>53149</c:v>
                </c:pt>
                <c:pt idx="183">
                  <c:v>53195</c:v>
                </c:pt>
                <c:pt idx="184">
                  <c:v>53253</c:v>
                </c:pt>
                <c:pt idx="185">
                  <c:v>53298</c:v>
                </c:pt>
                <c:pt idx="186">
                  <c:v>53353</c:v>
                </c:pt>
                <c:pt idx="187">
                  <c:v>53365</c:v>
                </c:pt>
                <c:pt idx="188">
                  <c:v>53377</c:v>
                </c:pt>
                <c:pt idx="189">
                  <c:v>53383</c:v>
                </c:pt>
                <c:pt idx="190">
                  <c:v>53392</c:v>
                </c:pt>
                <c:pt idx="191">
                  <c:v>53432</c:v>
                </c:pt>
                <c:pt idx="192">
                  <c:v>53487</c:v>
                </c:pt>
                <c:pt idx="193">
                  <c:v>53535</c:v>
                </c:pt>
                <c:pt idx="194">
                  <c:v>53550</c:v>
                </c:pt>
                <c:pt idx="195">
                  <c:v>53564</c:v>
                </c:pt>
                <c:pt idx="196">
                  <c:v>53612</c:v>
                </c:pt>
                <c:pt idx="197">
                  <c:v>53655</c:v>
                </c:pt>
                <c:pt idx="198">
                  <c:v>53701</c:v>
                </c:pt>
                <c:pt idx="199">
                  <c:v>53761</c:v>
                </c:pt>
                <c:pt idx="200">
                  <c:v>53816</c:v>
                </c:pt>
                <c:pt idx="201">
                  <c:v>53838</c:v>
                </c:pt>
                <c:pt idx="202">
                  <c:v>53857</c:v>
                </c:pt>
                <c:pt idx="203">
                  <c:v>53906</c:v>
                </c:pt>
                <c:pt idx="204">
                  <c:v>53952</c:v>
                </c:pt>
                <c:pt idx="205">
                  <c:v>54021</c:v>
                </c:pt>
                <c:pt idx="206">
                  <c:v>54059</c:v>
                </c:pt>
                <c:pt idx="207">
                  <c:v>54092</c:v>
                </c:pt>
                <c:pt idx="208">
                  <c:v>54098</c:v>
                </c:pt>
                <c:pt idx="209">
                  <c:v>54107</c:v>
                </c:pt>
                <c:pt idx="210">
                  <c:v>54147</c:v>
                </c:pt>
                <c:pt idx="211">
                  <c:v>54200</c:v>
                </c:pt>
                <c:pt idx="212">
                  <c:v>54235</c:v>
                </c:pt>
                <c:pt idx="213">
                  <c:v>54263</c:v>
                </c:pt>
                <c:pt idx="214">
                  <c:v>54308</c:v>
                </c:pt>
                <c:pt idx="215">
                  <c:v>54325</c:v>
                </c:pt>
                <c:pt idx="216">
                  <c:v>54338</c:v>
                </c:pt>
                <c:pt idx="217">
                  <c:v>54375</c:v>
                </c:pt>
                <c:pt idx="218">
                  <c:v>54401</c:v>
                </c:pt>
                <c:pt idx="219">
                  <c:v>54441</c:v>
                </c:pt>
                <c:pt idx="220">
                  <c:v>54472</c:v>
                </c:pt>
                <c:pt idx="221">
                  <c:v>54505</c:v>
                </c:pt>
                <c:pt idx="222">
                  <c:v>54518</c:v>
                </c:pt>
                <c:pt idx="223">
                  <c:v>54523</c:v>
                </c:pt>
                <c:pt idx="224">
                  <c:v>54545</c:v>
                </c:pt>
                <c:pt idx="225">
                  <c:v>54560</c:v>
                </c:pt>
                <c:pt idx="226">
                  <c:v>54580</c:v>
                </c:pt>
                <c:pt idx="227">
                  <c:v>54603</c:v>
                </c:pt>
                <c:pt idx="228">
                  <c:v>54628</c:v>
                </c:pt>
                <c:pt idx="229">
                  <c:v>54638</c:v>
                </c:pt>
                <c:pt idx="230">
                  <c:v>54643</c:v>
                </c:pt>
                <c:pt idx="231">
                  <c:v>54660</c:v>
                </c:pt>
                <c:pt idx="232">
                  <c:v>54684</c:v>
                </c:pt>
                <c:pt idx="233">
                  <c:v>54707</c:v>
                </c:pt>
                <c:pt idx="234">
                  <c:v>54729</c:v>
                </c:pt>
                <c:pt idx="235">
                  <c:v>54762</c:v>
                </c:pt>
                <c:pt idx="236">
                  <c:v>54772</c:v>
                </c:pt>
                <c:pt idx="237">
                  <c:v>54775</c:v>
                </c:pt>
                <c:pt idx="238">
                  <c:v>54787</c:v>
                </c:pt>
                <c:pt idx="239">
                  <c:v>54815</c:v>
                </c:pt>
                <c:pt idx="240">
                  <c:v>54839</c:v>
                </c:pt>
                <c:pt idx="241">
                  <c:v>54866</c:v>
                </c:pt>
                <c:pt idx="242">
                  <c:v>54894</c:v>
                </c:pt>
                <c:pt idx="243">
                  <c:v>54896</c:v>
                </c:pt>
                <c:pt idx="244">
                  <c:v>54903</c:v>
                </c:pt>
                <c:pt idx="245">
                  <c:v>54925</c:v>
                </c:pt>
                <c:pt idx="246">
                  <c:v>54950</c:v>
                </c:pt>
                <c:pt idx="247">
                  <c:v>54970</c:v>
                </c:pt>
                <c:pt idx="248">
                  <c:v>54998</c:v>
                </c:pt>
                <c:pt idx="249">
                  <c:v>55024</c:v>
                </c:pt>
                <c:pt idx="250">
                  <c:v>55032</c:v>
                </c:pt>
                <c:pt idx="251">
                  <c:v>55037</c:v>
                </c:pt>
                <c:pt idx="252">
                  <c:v>55050</c:v>
                </c:pt>
                <c:pt idx="253">
                  <c:v>55063</c:v>
                </c:pt>
                <c:pt idx="254">
                  <c:v>55083</c:v>
                </c:pt>
                <c:pt idx="255">
                  <c:v>55111</c:v>
                </c:pt>
                <c:pt idx="256">
                  <c:v>55136</c:v>
                </c:pt>
                <c:pt idx="257">
                  <c:v>55138</c:v>
                </c:pt>
                <c:pt idx="258">
                  <c:v>55141</c:v>
                </c:pt>
                <c:pt idx="259">
                  <c:v>55160</c:v>
                </c:pt>
                <c:pt idx="260">
                  <c:v>55178</c:v>
                </c:pt>
                <c:pt idx="261">
                  <c:v>55193</c:v>
                </c:pt>
                <c:pt idx="262">
                  <c:v>55211</c:v>
                </c:pt>
                <c:pt idx="263">
                  <c:v>55236</c:v>
                </c:pt>
                <c:pt idx="264">
                  <c:v>55241</c:v>
                </c:pt>
                <c:pt idx="265">
                  <c:v>55241</c:v>
                </c:pt>
                <c:pt idx="266">
                  <c:v>55261</c:v>
                </c:pt>
                <c:pt idx="267">
                  <c:v>55269</c:v>
                </c:pt>
                <c:pt idx="268">
                  <c:v>55280</c:v>
                </c:pt>
                <c:pt idx="269">
                  <c:v>55304</c:v>
                </c:pt>
                <c:pt idx="270">
                  <c:v>55329</c:v>
                </c:pt>
                <c:pt idx="271">
                  <c:v>55335</c:v>
                </c:pt>
                <c:pt idx="272">
                  <c:v>55335</c:v>
                </c:pt>
                <c:pt idx="273">
                  <c:v>55347</c:v>
                </c:pt>
                <c:pt idx="274">
                  <c:v>55347</c:v>
                </c:pt>
                <c:pt idx="275">
                  <c:v>55364</c:v>
                </c:pt>
                <c:pt idx="276">
                  <c:v>55379</c:v>
                </c:pt>
                <c:pt idx="277">
                  <c:v>55399</c:v>
                </c:pt>
                <c:pt idx="278">
                  <c:v>55405</c:v>
                </c:pt>
                <c:pt idx="279">
                  <c:v>55405</c:v>
                </c:pt>
                <c:pt idx="280">
                  <c:v>55415</c:v>
                </c:pt>
                <c:pt idx="281">
                  <c:v>55422</c:v>
                </c:pt>
                <c:pt idx="282">
                  <c:v>55434</c:v>
                </c:pt>
                <c:pt idx="283">
                  <c:v>55452</c:v>
                </c:pt>
                <c:pt idx="284">
                  <c:v>55466</c:v>
                </c:pt>
                <c:pt idx="285">
                  <c:v>55472</c:v>
                </c:pt>
                <c:pt idx="286">
                  <c:v>55472</c:v>
                </c:pt>
                <c:pt idx="287">
                  <c:v>55491</c:v>
                </c:pt>
                <c:pt idx="288">
                  <c:v>55509</c:v>
                </c:pt>
                <c:pt idx="289">
                  <c:v>55516</c:v>
                </c:pt>
                <c:pt idx="290">
                  <c:v>55526</c:v>
                </c:pt>
                <c:pt idx="291">
                  <c:v>55543</c:v>
                </c:pt>
                <c:pt idx="292">
                  <c:v>55545</c:v>
                </c:pt>
                <c:pt idx="293">
                  <c:v>55547</c:v>
                </c:pt>
                <c:pt idx="294">
                  <c:v>55568</c:v>
                </c:pt>
                <c:pt idx="295">
                  <c:v>55575</c:v>
                </c:pt>
                <c:pt idx="296">
                  <c:v>55589</c:v>
                </c:pt>
                <c:pt idx="297">
                  <c:v>55614</c:v>
                </c:pt>
                <c:pt idx="298">
                  <c:v>55653</c:v>
                </c:pt>
                <c:pt idx="299">
                  <c:v>55660</c:v>
                </c:pt>
                <c:pt idx="300">
                  <c:v>55666</c:v>
                </c:pt>
                <c:pt idx="301">
                  <c:v>55687</c:v>
                </c:pt>
                <c:pt idx="302">
                  <c:v>55724</c:v>
                </c:pt>
                <c:pt idx="303">
                  <c:v>55771</c:v>
                </c:pt>
                <c:pt idx="304">
                  <c:v>55778</c:v>
                </c:pt>
                <c:pt idx="305">
                  <c:v>55812</c:v>
                </c:pt>
                <c:pt idx="306">
                  <c:v>55824</c:v>
                </c:pt>
                <c:pt idx="307">
                  <c:v>55827</c:v>
                </c:pt>
                <c:pt idx="308">
                  <c:v>55871</c:v>
                </c:pt>
                <c:pt idx="309">
                  <c:v>55911</c:v>
                </c:pt>
                <c:pt idx="310">
                  <c:v>55946</c:v>
                </c:pt>
                <c:pt idx="311">
                  <c:v>56005</c:v>
                </c:pt>
                <c:pt idx="312">
                  <c:v>56068</c:v>
                </c:pt>
                <c:pt idx="313">
                  <c:v>56092</c:v>
                </c:pt>
                <c:pt idx="314">
                  <c:v>56107</c:v>
                </c:pt>
                <c:pt idx="315">
                  <c:v>56137</c:v>
                </c:pt>
                <c:pt idx="316">
                  <c:v>56172</c:v>
                </c:pt>
                <c:pt idx="317">
                  <c:v>56205</c:v>
                </c:pt>
                <c:pt idx="318">
                  <c:v>56239</c:v>
                </c:pt>
                <c:pt idx="319">
                  <c:v>56303</c:v>
                </c:pt>
                <c:pt idx="320">
                  <c:v>56314</c:v>
                </c:pt>
                <c:pt idx="321">
                  <c:v>56323</c:v>
                </c:pt>
                <c:pt idx="322">
                  <c:v>56370</c:v>
                </c:pt>
                <c:pt idx="323">
                  <c:v>56426</c:v>
                </c:pt>
                <c:pt idx="324">
                  <c:v>56441</c:v>
                </c:pt>
                <c:pt idx="325">
                  <c:v>56486</c:v>
                </c:pt>
                <c:pt idx="326">
                  <c:v>56553</c:v>
                </c:pt>
                <c:pt idx="327">
                  <c:v>56579</c:v>
                </c:pt>
                <c:pt idx="328">
                  <c:v>56590</c:v>
                </c:pt>
                <c:pt idx="329">
                  <c:v>56638</c:v>
                </c:pt>
                <c:pt idx="330">
                  <c:v>56687</c:v>
                </c:pt>
                <c:pt idx="331">
                  <c:v>56723</c:v>
                </c:pt>
                <c:pt idx="332">
                  <c:v>56774</c:v>
                </c:pt>
                <c:pt idx="333">
                  <c:v>56834</c:v>
                </c:pt>
                <c:pt idx="334">
                  <c:v>56844</c:v>
                </c:pt>
                <c:pt idx="335">
                  <c:v>56849</c:v>
                </c:pt>
                <c:pt idx="336">
                  <c:v>56879</c:v>
                </c:pt>
                <c:pt idx="337">
                  <c:v>56907</c:v>
                </c:pt>
                <c:pt idx="338">
                  <c:v>56941</c:v>
                </c:pt>
                <c:pt idx="339">
                  <c:v>56967</c:v>
                </c:pt>
                <c:pt idx="340">
                  <c:v>56998</c:v>
                </c:pt>
                <c:pt idx="341">
                  <c:v>57002</c:v>
                </c:pt>
                <c:pt idx="342">
                  <c:v>57004</c:v>
                </c:pt>
                <c:pt idx="343">
                  <c:v>57024</c:v>
                </c:pt>
                <c:pt idx="344">
                  <c:v>57042</c:v>
                </c:pt>
                <c:pt idx="345">
                  <c:v>57066</c:v>
                </c:pt>
                <c:pt idx="346">
                  <c:v>57085</c:v>
                </c:pt>
                <c:pt idx="347">
                  <c:v>57104</c:v>
                </c:pt>
                <c:pt idx="348">
                  <c:v>57108</c:v>
                </c:pt>
                <c:pt idx="349">
                  <c:v>57110</c:v>
                </c:pt>
                <c:pt idx="350">
                  <c:v>57123</c:v>
                </c:pt>
                <c:pt idx="351">
                  <c:v>57134</c:v>
                </c:pt>
                <c:pt idx="352">
                  <c:v>57146</c:v>
                </c:pt>
                <c:pt idx="353">
                  <c:v>57163</c:v>
                </c:pt>
                <c:pt idx="354">
                  <c:v>57180</c:v>
                </c:pt>
                <c:pt idx="355">
                  <c:v>57184</c:v>
                </c:pt>
                <c:pt idx="356">
                  <c:v>57186</c:v>
                </c:pt>
                <c:pt idx="357">
                  <c:v>57195</c:v>
                </c:pt>
                <c:pt idx="358">
                  <c:v>57203</c:v>
                </c:pt>
                <c:pt idx="359">
                  <c:v>57216</c:v>
                </c:pt>
                <c:pt idx="360">
                  <c:v>57218</c:v>
                </c:pt>
                <c:pt idx="361">
                  <c:v>57225</c:v>
                </c:pt>
                <c:pt idx="362">
                  <c:v>57230</c:v>
                </c:pt>
                <c:pt idx="363">
                  <c:v>57233</c:v>
                </c:pt>
                <c:pt idx="364">
                  <c:v>57239</c:v>
                </c:pt>
                <c:pt idx="365">
                  <c:v>57241</c:v>
                </c:pt>
                <c:pt idx="366">
                  <c:v>57242</c:v>
                </c:pt>
                <c:pt idx="367">
                  <c:v>57247</c:v>
                </c:pt>
                <c:pt idx="368">
                  <c:v>57252</c:v>
                </c:pt>
                <c:pt idx="369">
                  <c:v>57262</c:v>
                </c:pt>
                <c:pt idx="370">
                  <c:v>57272</c:v>
                </c:pt>
                <c:pt idx="371">
                  <c:v>57287</c:v>
                </c:pt>
                <c:pt idx="372">
                  <c:v>57290</c:v>
                </c:pt>
                <c:pt idx="373">
                  <c:v>57291</c:v>
                </c:pt>
                <c:pt idx="374">
                  <c:v>57299</c:v>
                </c:pt>
                <c:pt idx="375">
                  <c:v>57306</c:v>
                </c:pt>
                <c:pt idx="376">
                  <c:v>57318</c:v>
                </c:pt>
                <c:pt idx="377">
                  <c:v>57329</c:v>
                </c:pt>
                <c:pt idx="378">
                  <c:v>57341</c:v>
                </c:pt>
                <c:pt idx="379">
                  <c:v>57344</c:v>
                </c:pt>
                <c:pt idx="380">
                  <c:v>57344</c:v>
                </c:pt>
                <c:pt idx="381">
                  <c:v>57353</c:v>
                </c:pt>
                <c:pt idx="382">
                  <c:v>57360</c:v>
                </c:pt>
                <c:pt idx="383">
                  <c:v>57363</c:v>
                </c:pt>
                <c:pt idx="384">
                  <c:v>57370</c:v>
                </c:pt>
                <c:pt idx="385">
                  <c:v>57379</c:v>
                </c:pt>
                <c:pt idx="386">
                  <c:v>57380</c:v>
                </c:pt>
                <c:pt idx="387">
                  <c:v>57380</c:v>
                </c:pt>
                <c:pt idx="388">
                  <c:v>57384</c:v>
                </c:pt>
                <c:pt idx="389">
                  <c:v>57389</c:v>
                </c:pt>
                <c:pt idx="390">
                  <c:v>57395</c:v>
                </c:pt>
                <c:pt idx="391">
                  <c:v>57397</c:v>
                </c:pt>
                <c:pt idx="392">
                  <c:v>574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783-4536-9939-DB56A099F9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35740047"/>
        <c:axId val="1249189871"/>
      </c:lineChart>
      <c:catAx>
        <c:axId val="13357400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00000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249189871"/>
        <c:crosses val="autoZero"/>
        <c:auto val="1"/>
        <c:lblAlgn val="ctr"/>
        <c:lblOffset val="100"/>
        <c:tickLblSkip val="7"/>
        <c:noMultiLvlLbl val="0"/>
      </c:catAx>
      <c:valAx>
        <c:axId val="12491898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335740047"/>
        <c:crosses val="autoZero"/>
        <c:crossBetween val="midCat"/>
        <c:majorUnit val="200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2797528443005752"/>
          <c:y val="0.28604517875847346"/>
          <c:w val="0.10158527092232689"/>
          <c:h val="0.4728885344872771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14648495541371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dLbl>
              <c:idx val="13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A3F-421B-A24A-264CC3DD701B}"/>
                </c:ext>
              </c:extLst>
            </c:dLbl>
            <c:dLbl>
              <c:idx val="13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487-4B41-A7BA-23E0663C99CB}"/>
                </c:ext>
              </c:extLst>
            </c:dLbl>
            <c:dLbl>
              <c:idx val="13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487-4B41-A7BA-23E0663C99CB}"/>
                </c:ext>
              </c:extLst>
            </c:dLbl>
            <c:dLbl>
              <c:idx val="13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A3F-421B-A24A-264CC3DD701B}"/>
                </c:ext>
              </c:extLst>
            </c:dLbl>
            <c:dLbl>
              <c:idx val="13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487-4B41-A7BA-23E0663C99CB}"/>
                </c:ext>
              </c:extLst>
            </c:dLbl>
            <c:dLbl>
              <c:idx val="14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A3F-421B-A24A-264CC3DD701B}"/>
                </c:ext>
              </c:extLst>
            </c:dLbl>
            <c:dLbl>
              <c:idx val="14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487-4B41-A7BA-23E0663C99CB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55</c:f>
              <c:numCache>
                <c:formatCode>m/d/yyyy</c:formatCode>
                <c:ptCount val="221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9</c:v>
                </c:pt>
                <c:pt idx="21">
                  <c:v>44390</c:v>
                </c:pt>
                <c:pt idx="22">
                  <c:v>44391</c:v>
                </c:pt>
                <c:pt idx="23">
                  <c:v>44392</c:v>
                </c:pt>
                <c:pt idx="24">
                  <c:v>44393</c:v>
                </c:pt>
                <c:pt idx="25">
                  <c:v>44394</c:v>
                </c:pt>
                <c:pt idx="26">
                  <c:v>44395</c:v>
                </c:pt>
                <c:pt idx="27">
                  <c:v>44396</c:v>
                </c:pt>
                <c:pt idx="28">
                  <c:v>44397</c:v>
                </c:pt>
                <c:pt idx="29">
                  <c:v>44398</c:v>
                </c:pt>
                <c:pt idx="30">
                  <c:v>44399</c:v>
                </c:pt>
                <c:pt idx="31">
                  <c:v>44400</c:v>
                </c:pt>
                <c:pt idx="32">
                  <c:v>44401</c:v>
                </c:pt>
                <c:pt idx="33">
                  <c:v>44402</c:v>
                </c:pt>
                <c:pt idx="34">
                  <c:v>44403</c:v>
                </c:pt>
                <c:pt idx="35">
                  <c:v>44404</c:v>
                </c:pt>
                <c:pt idx="36">
                  <c:v>44405</c:v>
                </c:pt>
                <c:pt idx="37">
                  <c:v>44406</c:v>
                </c:pt>
                <c:pt idx="38">
                  <c:v>44407</c:v>
                </c:pt>
                <c:pt idx="39">
                  <c:v>44408</c:v>
                </c:pt>
                <c:pt idx="40">
                  <c:v>44409</c:v>
                </c:pt>
                <c:pt idx="41">
                  <c:v>44410</c:v>
                </c:pt>
                <c:pt idx="42">
                  <c:v>44411</c:v>
                </c:pt>
                <c:pt idx="43">
                  <c:v>44412</c:v>
                </c:pt>
                <c:pt idx="44">
                  <c:v>44413</c:v>
                </c:pt>
                <c:pt idx="45">
                  <c:v>44414</c:v>
                </c:pt>
                <c:pt idx="46">
                  <c:v>44415</c:v>
                </c:pt>
                <c:pt idx="47">
                  <c:v>44416</c:v>
                </c:pt>
                <c:pt idx="48">
                  <c:v>44417</c:v>
                </c:pt>
                <c:pt idx="49">
                  <c:v>44418</c:v>
                </c:pt>
                <c:pt idx="50">
                  <c:v>44419</c:v>
                </c:pt>
                <c:pt idx="51">
                  <c:v>44420</c:v>
                </c:pt>
                <c:pt idx="52">
                  <c:v>44421</c:v>
                </c:pt>
                <c:pt idx="53">
                  <c:v>44422</c:v>
                </c:pt>
                <c:pt idx="54">
                  <c:v>44423</c:v>
                </c:pt>
                <c:pt idx="55">
                  <c:v>44424</c:v>
                </c:pt>
                <c:pt idx="56">
                  <c:v>44425</c:v>
                </c:pt>
                <c:pt idx="57">
                  <c:v>44426</c:v>
                </c:pt>
                <c:pt idx="58">
                  <c:v>44427</c:v>
                </c:pt>
                <c:pt idx="59">
                  <c:v>44428</c:v>
                </c:pt>
                <c:pt idx="60">
                  <c:v>44429</c:v>
                </c:pt>
                <c:pt idx="61">
                  <c:v>44430</c:v>
                </c:pt>
                <c:pt idx="62">
                  <c:v>44431</c:v>
                </c:pt>
                <c:pt idx="63">
                  <c:v>44432</c:v>
                </c:pt>
                <c:pt idx="64">
                  <c:v>44433</c:v>
                </c:pt>
                <c:pt idx="65">
                  <c:v>44434</c:v>
                </c:pt>
                <c:pt idx="66">
                  <c:v>44435</c:v>
                </c:pt>
                <c:pt idx="67">
                  <c:v>44436</c:v>
                </c:pt>
                <c:pt idx="68">
                  <c:v>44437</c:v>
                </c:pt>
                <c:pt idx="69">
                  <c:v>44438</c:v>
                </c:pt>
                <c:pt idx="70">
                  <c:v>44439</c:v>
                </c:pt>
                <c:pt idx="71">
                  <c:v>44440</c:v>
                </c:pt>
                <c:pt idx="72">
                  <c:v>44441</c:v>
                </c:pt>
                <c:pt idx="73">
                  <c:v>44442</c:v>
                </c:pt>
                <c:pt idx="74">
                  <c:v>44443</c:v>
                </c:pt>
                <c:pt idx="75">
                  <c:v>44444</c:v>
                </c:pt>
                <c:pt idx="76">
                  <c:v>44445</c:v>
                </c:pt>
                <c:pt idx="77">
                  <c:v>44446</c:v>
                </c:pt>
                <c:pt idx="78">
                  <c:v>44447</c:v>
                </c:pt>
                <c:pt idx="79">
                  <c:v>44448</c:v>
                </c:pt>
                <c:pt idx="80">
                  <c:v>44449</c:v>
                </c:pt>
                <c:pt idx="81">
                  <c:v>44450</c:v>
                </c:pt>
                <c:pt idx="82">
                  <c:v>44451</c:v>
                </c:pt>
                <c:pt idx="83">
                  <c:v>44452</c:v>
                </c:pt>
                <c:pt idx="84">
                  <c:v>44453</c:v>
                </c:pt>
                <c:pt idx="85">
                  <c:v>44454</c:v>
                </c:pt>
                <c:pt idx="86">
                  <c:v>44455</c:v>
                </c:pt>
                <c:pt idx="87">
                  <c:v>44456</c:v>
                </c:pt>
                <c:pt idx="88">
                  <c:v>44457</c:v>
                </c:pt>
                <c:pt idx="89">
                  <c:v>44458</c:v>
                </c:pt>
                <c:pt idx="90">
                  <c:v>44459</c:v>
                </c:pt>
                <c:pt idx="91">
                  <c:v>44460</c:v>
                </c:pt>
                <c:pt idx="92">
                  <c:v>44461</c:v>
                </c:pt>
                <c:pt idx="93">
                  <c:v>44462</c:v>
                </c:pt>
                <c:pt idx="94">
                  <c:v>44463</c:v>
                </c:pt>
                <c:pt idx="95">
                  <c:v>44464</c:v>
                </c:pt>
                <c:pt idx="96">
                  <c:v>44465</c:v>
                </c:pt>
                <c:pt idx="97">
                  <c:v>44466</c:v>
                </c:pt>
                <c:pt idx="98">
                  <c:v>44467</c:v>
                </c:pt>
                <c:pt idx="99">
                  <c:v>44468</c:v>
                </c:pt>
                <c:pt idx="100">
                  <c:v>44469</c:v>
                </c:pt>
                <c:pt idx="101">
                  <c:v>44470</c:v>
                </c:pt>
                <c:pt idx="102">
                  <c:v>44471</c:v>
                </c:pt>
                <c:pt idx="103">
                  <c:v>44472</c:v>
                </c:pt>
                <c:pt idx="104">
                  <c:v>44473</c:v>
                </c:pt>
                <c:pt idx="105">
                  <c:v>44474</c:v>
                </c:pt>
                <c:pt idx="106">
                  <c:v>44475</c:v>
                </c:pt>
                <c:pt idx="107">
                  <c:v>44476</c:v>
                </c:pt>
                <c:pt idx="108">
                  <c:v>44477</c:v>
                </c:pt>
                <c:pt idx="109">
                  <c:v>44478</c:v>
                </c:pt>
                <c:pt idx="110">
                  <c:v>44479</c:v>
                </c:pt>
                <c:pt idx="111">
                  <c:v>44480</c:v>
                </c:pt>
                <c:pt idx="112">
                  <c:v>44481</c:v>
                </c:pt>
                <c:pt idx="113">
                  <c:v>44482</c:v>
                </c:pt>
                <c:pt idx="114">
                  <c:v>44483</c:v>
                </c:pt>
                <c:pt idx="115">
                  <c:v>44484</c:v>
                </c:pt>
                <c:pt idx="116">
                  <c:v>44485</c:v>
                </c:pt>
                <c:pt idx="117">
                  <c:v>44486</c:v>
                </c:pt>
                <c:pt idx="118">
                  <c:v>44487</c:v>
                </c:pt>
                <c:pt idx="119">
                  <c:v>44488</c:v>
                </c:pt>
                <c:pt idx="120">
                  <c:v>44489</c:v>
                </c:pt>
                <c:pt idx="121">
                  <c:v>44490</c:v>
                </c:pt>
                <c:pt idx="122">
                  <c:v>44491</c:v>
                </c:pt>
                <c:pt idx="123">
                  <c:v>44492</c:v>
                </c:pt>
                <c:pt idx="124">
                  <c:v>44493</c:v>
                </c:pt>
                <c:pt idx="125">
                  <c:v>44494</c:v>
                </c:pt>
                <c:pt idx="126">
                  <c:v>44495</c:v>
                </c:pt>
                <c:pt idx="127">
                  <c:v>44496</c:v>
                </c:pt>
                <c:pt idx="128">
                  <c:v>44497</c:v>
                </c:pt>
                <c:pt idx="129">
                  <c:v>44498</c:v>
                </c:pt>
                <c:pt idx="130">
                  <c:v>44499</c:v>
                </c:pt>
                <c:pt idx="131">
                  <c:v>44500</c:v>
                </c:pt>
                <c:pt idx="132">
                  <c:v>44501</c:v>
                </c:pt>
                <c:pt idx="133">
                  <c:v>44502</c:v>
                </c:pt>
                <c:pt idx="134">
                  <c:v>44503</c:v>
                </c:pt>
                <c:pt idx="135">
                  <c:v>44504</c:v>
                </c:pt>
                <c:pt idx="136">
                  <c:v>44505</c:v>
                </c:pt>
                <c:pt idx="137">
                  <c:v>44506</c:v>
                </c:pt>
                <c:pt idx="138">
                  <c:v>44507</c:v>
                </c:pt>
                <c:pt idx="139">
                  <c:v>44508</c:v>
                </c:pt>
                <c:pt idx="140">
                  <c:v>44509</c:v>
                </c:pt>
                <c:pt idx="141">
                  <c:v>44510</c:v>
                </c:pt>
                <c:pt idx="142">
                  <c:v>44511</c:v>
                </c:pt>
                <c:pt idx="143">
                  <c:v>44512</c:v>
                </c:pt>
                <c:pt idx="144">
                  <c:v>44513</c:v>
                </c:pt>
                <c:pt idx="145">
                  <c:v>44514</c:v>
                </c:pt>
                <c:pt idx="146">
                  <c:v>44515</c:v>
                </c:pt>
                <c:pt idx="147">
                  <c:v>44516</c:v>
                </c:pt>
                <c:pt idx="148">
                  <c:v>44517</c:v>
                </c:pt>
                <c:pt idx="149">
                  <c:v>44518</c:v>
                </c:pt>
                <c:pt idx="150">
                  <c:v>44519</c:v>
                </c:pt>
                <c:pt idx="151">
                  <c:v>44520</c:v>
                </c:pt>
                <c:pt idx="152">
                  <c:v>44521</c:v>
                </c:pt>
                <c:pt idx="153">
                  <c:v>44522</c:v>
                </c:pt>
                <c:pt idx="154">
                  <c:v>44523</c:v>
                </c:pt>
                <c:pt idx="155">
                  <c:v>44524</c:v>
                </c:pt>
                <c:pt idx="156">
                  <c:v>44525</c:v>
                </c:pt>
                <c:pt idx="157">
                  <c:v>44526</c:v>
                </c:pt>
                <c:pt idx="158">
                  <c:v>44527</c:v>
                </c:pt>
                <c:pt idx="159">
                  <c:v>44528</c:v>
                </c:pt>
                <c:pt idx="160">
                  <c:v>44529</c:v>
                </c:pt>
                <c:pt idx="161">
                  <c:v>44530</c:v>
                </c:pt>
                <c:pt idx="162">
                  <c:v>44531</c:v>
                </c:pt>
                <c:pt idx="163">
                  <c:v>44532</c:v>
                </c:pt>
                <c:pt idx="164">
                  <c:v>44533</c:v>
                </c:pt>
                <c:pt idx="165">
                  <c:v>44534</c:v>
                </c:pt>
                <c:pt idx="166">
                  <c:v>44535</c:v>
                </c:pt>
                <c:pt idx="167">
                  <c:v>44536</c:v>
                </c:pt>
                <c:pt idx="168">
                  <c:v>44537</c:v>
                </c:pt>
                <c:pt idx="169">
                  <c:v>44538</c:v>
                </c:pt>
                <c:pt idx="170">
                  <c:v>44539</c:v>
                </c:pt>
                <c:pt idx="171">
                  <c:v>44540</c:v>
                </c:pt>
                <c:pt idx="172">
                  <c:v>44541</c:v>
                </c:pt>
                <c:pt idx="173">
                  <c:v>44542</c:v>
                </c:pt>
                <c:pt idx="174">
                  <c:v>44543</c:v>
                </c:pt>
                <c:pt idx="175">
                  <c:v>44544</c:v>
                </c:pt>
                <c:pt idx="176">
                  <c:v>44545</c:v>
                </c:pt>
                <c:pt idx="177">
                  <c:v>44546</c:v>
                </c:pt>
                <c:pt idx="178">
                  <c:v>44547</c:v>
                </c:pt>
                <c:pt idx="179">
                  <c:v>44548</c:v>
                </c:pt>
                <c:pt idx="180">
                  <c:v>44549</c:v>
                </c:pt>
                <c:pt idx="181">
                  <c:v>44550</c:v>
                </c:pt>
                <c:pt idx="182">
                  <c:v>44551</c:v>
                </c:pt>
                <c:pt idx="183">
                  <c:v>44552</c:v>
                </c:pt>
                <c:pt idx="184">
                  <c:v>44553</c:v>
                </c:pt>
                <c:pt idx="185">
                  <c:v>44554</c:v>
                </c:pt>
                <c:pt idx="186">
                  <c:v>44555</c:v>
                </c:pt>
                <c:pt idx="187">
                  <c:v>44556</c:v>
                </c:pt>
                <c:pt idx="188">
                  <c:v>44557</c:v>
                </c:pt>
                <c:pt idx="189">
                  <c:v>44558</c:v>
                </c:pt>
                <c:pt idx="190">
                  <c:v>44559</c:v>
                </c:pt>
                <c:pt idx="191">
                  <c:v>44560</c:v>
                </c:pt>
                <c:pt idx="192">
                  <c:v>44561</c:v>
                </c:pt>
                <c:pt idx="193">
                  <c:v>44562</c:v>
                </c:pt>
                <c:pt idx="194">
                  <c:v>44563</c:v>
                </c:pt>
                <c:pt idx="195">
                  <c:v>44564</c:v>
                </c:pt>
                <c:pt idx="196">
                  <c:v>44565</c:v>
                </c:pt>
                <c:pt idx="197">
                  <c:v>44566</c:v>
                </c:pt>
                <c:pt idx="198">
                  <c:v>44567</c:v>
                </c:pt>
                <c:pt idx="199">
                  <c:v>44568</c:v>
                </c:pt>
                <c:pt idx="200">
                  <c:v>44569</c:v>
                </c:pt>
                <c:pt idx="201">
                  <c:v>44570</c:v>
                </c:pt>
                <c:pt idx="202">
                  <c:v>44571</c:v>
                </c:pt>
                <c:pt idx="203">
                  <c:v>44572</c:v>
                </c:pt>
                <c:pt idx="204">
                  <c:v>44573</c:v>
                </c:pt>
                <c:pt idx="205">
                  <c:v>44574</c:v>
                </c:pt>
                <c:pt idx="206">
                  <c:v>44575</c:v>
                </c:pt>
                <c:pt idx="207">
                  <c:v>44576</c:v>
                </c:pt>
                <c:pt idx="208">
                  <c:v>44577</c:v>
                </c:pt>
                <c:pt idx="209">
                  <c:v>44578</c:v>
                </c:pt>
                <c:pt idx="210">
                  <c:v>44579</c:v>
                </c:pt>
                <c:pt idx="211">
                  <c:v>44580</c:v>
                </c:pt>
                <c:pt idx="212">
                  <c:v>44581</c:v>
                </c:pt>
                <c:pt idx="213">
                  <c:v>44582</c:v>
                </c:pt>
                <c:pt idx="214">
                  <c:v>44583</c:v>
                </c:pt>
                <c:pt idx="215">
                  <c:v>44584</c:v>
                </c:pt>
                <c:pt idx="216">
                  <c:v>44585</c:v>
                </c:pt>
                <c:pt idx="217">
                  <c:v>44586</c:v>
                </c:pt>
                <c:pt idx="218">
                  <c:v>44587</c:v>
                </c:pt>
                <c:pt idx="219">
                  <c:v>44588</c:v>
                </c:pt>
                <c:pt idx="220">
                  <c:v>44589</c:v>
                </c:pt>
              </c:numCache>
            </c:numRef>
          </c:cat>
          <c:val>
            <c:numRef>
              <c:f>Sheet1!$B$135:$B$355</c:f>
              <c:numCache>
                <c:formatCode>General</c:formatCode>
                <c:ptCount val="221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1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2</c:v>
                </c:pt>
                <c:pt idx="19">
                  <c:v>0</c:v>
                </c:pt>
                <c:pt idx="20">
                  <c:v>2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3</c:v>
                </c:pt>
                <c:pt idx="25">
                  <c:v>2</c:v>
                </c:pt>
                <c:pt idx="26">
                  <c:v>1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4</c:v>
                </c:pt>
                <c:pt idx="31">
                  <c:v>0</c:v>
                </c:pt>
                <c:pt idx="32">
                  <c:v>0</c:v>
                </c:pt>
                <c:pt idx="33">
                  <c:v>1</c:v>
                </c:pt>
                <c:pt idx="34">
                  <c:v>3</c:v>
                </c:pt>
                <c:pt idx="35">
                  <c:v>1</c:v>
                </c:pt>
                <c:pt idx="36">
                  <c:v>1</c:v>
                </c:pt>
                <c:pt idx="37">
                  <c:v>2</c:v>
                </c:pt>
                <c:pt idx="38">
                  <c:v>2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7</c:v>
                </c:pt>
                <c:pt idx="44">
                  <c:v>1</c:v>
                </c:pt>
                <c:pt idx="45">
                  <c:v>2</c:v>
                </c:pt>
                <c:pt idx="46">
                  <c:v>0</c:v>
                </c:pt>
                <c:pt idx="47">
                  <c:v>3</c:v>
                </c:pt>
                <c:pt idx="48">
                  <c:v>2</c:v>
                </c:pt>
                <c:pt idx="49">
                  <c:v>0</c:v>
                </c:pt>
                <c:pt idx="50">
                  <c:v>4</c:v>
                </c:pt>
                <c:pt idx="51">
                  <c:v>1</c:v>
                </c:pt>
                <c:pt idx="52">
                  <c:v>1</c:v>
                </c:pt>
                <c:pt idx="53">
                  <c:v>0</c:v>
                </c:pt>
                <c:pt idx="54">
                  <c:v>0</c:v>
                </c:pt>
                <c:pt idx="55">
                  <c:v>3</c:v>
                </c:pt>
                <c:pt idx="56">
                  <c:v>0</c:v>
                </c:pt>
                <c:pt idx="57">
                  <c:v>0</c:v>
                </c:pt>
                <c:pt idx="58">
                  <c:v>2</c:v>
                </c:pt>
                <c:pt idx="59">
                  <c:v>1</c:v>
                </c:pt>
                <c:pt idx="60">
                  <c:v>0</c:v>
                </c:pt>
                <c:pt idx="61">
                  <c:v>0</c:v>
                </c:pt>
                <c:pt idx="62">
                  <c:v>2</c:v>
                </c:pt>
                <c:pt idx="63">
                  <c:v>0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0</c:v>
                </c:pt>
                <c:pt idx="69">
                  <c:v>0</c:v>
                </c:pt>
                <c:pt idx="70">
                  <c:v>4</c:v>
                </c:pt>
                <c:pt idx="71">
                  <c:v>4</c:v>
                </c:pt>
                <c:pt idx="72">
                  <c:v>1</c:v>
                </c:pt>
                <c:pt idx="73">
                  <c:v>1</c:v>
                </c:pt>
                <c:pt idx="74">
                  <c:v>3</c:v>
                </c:pt>
                <c:pt idx="75">
                  <c:v>1</c:v>
                </c:pt>
                <c:pt idx="76">
                  <c:v>0</c:v>
                </c:pt>
                <c:pt idx="77">
                  <c:v>2</c:v>
                </c:pt>
                <c:pt idx="78">
                  <c:v>0</c:v>
                </c:pt>
                <c:pt idx="79">
                  <c:v>0</c:v>
                </c:pt>
                <c:pt idx="80">
                  <c:v>3</c:v>
                </c:pt>
                <c:pt idx="81">
                  <c:v>3</c:v>
                </c:pt>
                <c:pt idx="82">
                  <c:v>0</c:v>
                </c:pt>
                <c:pt idx="83">
                  <c:v>4</c:v>
                </c:pt>
                <c:pt idx="84">
                  <c:v>2</c:v>
                </c:pt>
                <c:pt idx="85">
                  <c:v>0</c:v>
                </c:pt>
                <c:pt idx="86">
                  <c:v>1</c:v>
                </c:pt>
                <c:pt idx="87">
                  <c:v>2</c:v>
                </c:pt>
                <c:pt idx="88">
                  <c:v>1</c:v>
                </c:pt>
                <c:pt idx="89">
                  <c:v>1</c:v>
                </c:pt>
                <c:pt idx="90">
                  <c:v>0</c:v>
                </c:pt>
                <c:pt idx="91">
                  <c:v>3</c:v>
                </c:pt>
                <c:pt idx="92">
                  <c:v>3</c:v>
                </c:pt>
                <c:pt idx="93">
                  <c:v>2</c:v>
                </c:pt>
                <c:pt idx="94">
                  <c:v>3</c:v>
                </c:pt>
                <c:pt idx="95">
                  <c:v>0</c:v>
                </c:pt>
                <c:pt idx="96">
                  <c:v>2</c:v>
                </c:pt>
                <c:pt idx="97">
                  <c:v>6</c:v>
                </c:pt>
                <c:pt idx="98">
                  <c:v>4</c:v>
                </c:pt>
                <c:pt idx="99">
                  <c:v>3</c:v>
                </c:pt>
                <c:pt idx="100">
                  <c:v>9</c:v>
                </c:pt>
                <c:pt idx="101">
                  <c:v>2</c:v>
                </c:pt>
                <c:pt idx="102">
                  <c:v>5</c:v>
                </c:pt>
                <c:pt idx="103">
                  <c:v>1</c:v>
                </c:pt>
                <c:pt idx="104">
                  <c:v>0</c:v>
                </c:pt>
                <c:pt idx="105">
                  <c:v>2</c:v>
                </c:pt>
                <c:pt idx="106">
                  <c:v>5</c:v>
                </c:pt>
                <c:pt idx="107">
                  <c:v>6</c:v>
                </c:pt>
                <c:pt idx="108">
                  <c:v>6</c:v>
                </c:pt>
                <c:pt idx="109">
                  <c:v>1</c:v>
                </c:pt>
                <c:pt idx="110">
                  <c:v>1</c:v>
                </c:pt>
                <c:pt idx="111">
                  <c:v>3</c:v>
                </c:pt>
                <c:pt idx="112">
                  <c:v>10</c:v>
                </c:pt>
                <c:pt idx="113">
                  <c:v>7</c:v>
                </c:pt>
                <c:pt idx="114">
                  <c:v>7</c:v>
                </c:pt>
                <c:pt idx="115">
                  <c:v>6</c:v>
                </c:pt>
                <c:pt idx="116">
                  <c:v>5</c:v>
                </c:pt>
                <c:pt idx="117">
                  <c:v>8</c:v>
                </c:pt>
                <c:pt idx="118">
                  <c:v>17</c:v>
                </c:pt>
                <c:pt idx="119">
                  <c:v>17</c:v>
                </c:pt>
                <c:pt idx="120">
                  <c:v>13</c:v>
                </c:pt>
                <c:pt idx="121">
                  <c:v>13</c:v>
                </c:pt>
                <c:pt idx="122">
                  <c:v>17</c:v>
                </c:pt>
                <c:pt idx="123">
                  <c:v>15</c:v>
                </c:pt>
                <c:pt idx="124">
                  <c:v>12</c:v>
                </c:pt>
                <c:pt idx="125">
                  <c:v>28</c:v>
                </c:pt>
                <c:pt idx="126">
                  <c:v>20</c:v>
                </c:pt>
                <c:pt idx="127">
                  <c:v>23</c:v>
                </c:pt>
                <c:pt idx="128">
                  <c:v>22</c:v>
                </c:pt>
                <c:pt idx="129">
                  <c:v>38</c:v>
                </c:pt>
                <c:pt idx="130">
                  <c:v>22</c:v>
                </c:pt>
                <c:pt idx="131">
                  <c:v>18</c:v>
                </c:pt>
                <c:pt idx="132">
                  <c:v>57</c:v>
                </c:pt>
                <c:pt idx="133">
                  <c:v>39</c:v>
                </c:pt>
                <c:pt idx="134">
                  <c:v>39</c:v>
                </c:pt>
                <c:pt idx="135">
                  <c:v>27</c:v>
                </c:pt>
                <c:pt idx="136">
                  <c:v>41</c:v>
                </c:pt>
                <c:pt idx="137">
                  <c:v>21</c:v>
                </c:pt>
                <c:pt idx="138">
                  <c:v>19</c:v>
                </c:pt>
                <c:pt idx="139">
                  <c:v>53</c:v>
                </c:pt>
                <c:pt idx="140">
                  <c:v>46</c:v>
                </c:pt>
                <c:pt idx="141">
                  <c:v>48</c:v>
                </c:pt>
                <c:pt idx="142">
                  <c:v>50</c:v>
                </c:pt>
                <c:pt idx="143">
                  <c:v>45</c:v>
                </c:pt>
                <c:pt idx="144">
                  <c:v>50</c:v>
                </c:pt>
                <c:pt idx="145">
                  <c:v>23</c:v>
                </c:pt>
                <c:pt idx="146">
                  <c:v>65</c:v>
                </c:pt>
                <c:pt idx="147">
                  <c:v>62</c:v>
                </c:pt>
                <c:pt idx="148">
                  <c:v>44</c:v>
                </c:pt>
                <c:pt idx="149">
                  <c:v>58</c:v>
                </c:pt>
                <c:pt idx="150">
                  <c:v>84</c:v>
                </c:pt>
                <c:pt idx="151">
                  <c:v>50</c:v>
                </c:pt>
                <c:pt idx="152">
                  <c:v>31</c:v>
                </c:pt>
                <c:pt idx="153">
                  <c:v>63</c:v>
                </c:pt>
                <c:pt idx="154">
                  <c:v>73</c:v>
                </c:pt>
                <c:pt idx="155">
                  <c:v>44</c:v>
                </c:pt>
                <c:pt idx="156">
                  <c:v>71</c:v>
                </c:pt>
                <c:pt idx="157">
                  <c:v>57</c:v>
                </c:pt>
                <c:pt idx="158">
                  <c:v>34</c:v>
                </c:pt>
                <c:pt idx="159">
                  <c:v>42</c:v>
                </c:pt>
                <c:pt idx="160">
                  <c:v>64</c:v>
                </c:pt>
                <c:pt idx="161">
                  <c:v>52</c:v>
                </c:pt>
                <c:pt idx="162">
                  <c:v>57</c:v>
                </c:pt>
                <c:pt idx="163">
                  <c:v>44</c:v>
                </c:pt>
                <c:pt idx="164">
                  <c:v>52</c:v>
                </c:pt>
                <c:pt idx="165">
                  <c:v>27</c:v>
                </c:pt>
                <c:pt idx="166">
                  <c:v>17</c:v>
                </c:pt>
                <c:pt idx="167">
                  <c:v>47</c:v>
                </c:pt>
                <c:pt idx="168">
                  <c:v>45</c:v>
                </c:pt>
                <c:pt idx="169">
                  <c:v>31</c:v>
                </c:pt>
                <c:pt idx="170">
                  <c:v>33</c:v>
                </c:pt>
                <c:pt idx="171">
                  <c:v>34</c:v>
                </c:pt>
                <c:pt idx="172">
                  <c:v>21</c:v>
                </c:pt>
                <c:pt idx="173">
                  <c:v>13</c:v>
                </c:pt>
                <c:pt idx="174">
                  <c:v>30</c:v>
                </c:pt>
                <c:pt idx="175">
                  <c:v>25</c:v>
                </c:pt>
                <c:pt idx="176">
                  <c:v>25</c:v>
                </c:pt>
                <c:pt idx="177">
                  <c:v>16</c:v>
                </c:pt>
                <c:pt idx="178">
                  <c:v>25</c:v>
                </c:pt>
                <c:pt idx="179">
                  <c:v>21</c:v>
                </c:pt>
                <c:pt idx="180">
                  <c:v>15</c:v>
                </c:pt>
                <c:pt idx="181">
                  <c:v>27</c:v>
                </c:pt>
                <c:pt idx="182">
                  <c:v>31</c:v>
                </c:pt>
                <c:pt idx="183">
                  <c:v>22</c:v>
                </c:pt>
                <c:pt idx="184">
                  <c:v>24</c:v>
                </c:pt>
                <c:pt idx="185">
                  <c:v>4</c:v>
                </c:pt>
                <c:pt idx="186">
                  <c:v>12</c:v>
                </c:pt>
                <c:pt idx="187">
                  <c:v>8</c:v>
                </c:pt>
                <c:pt idx="188">
                  <c:v>26</c:v>
                </c:pt>
                <c:pt idx="189">
                  <c:v>34</c:v>
                </c:pt>
                <c:pt idx="190">
                  <c:v>27</c:v>
                </c:pt>
                <c:pt idx="191">
                  <c:v>23</c:v>
                </c:pt>
                <c:pt idx="192">
                  <c:v>21</c:v>
                </c:pt>
                <c:pt idx="193">
                  <c:v>7</c:v>
                </c:pt>
                <c:pt idx="194">
                  <c:v>27</c:v>
                </c:pt>
                <c:pt idx="195">
                  <c:v>41</c:v>
                </c:pt>
                <c:pt idx="196">
                  <c:v>31</c:v>
                </c:pt>
                <c:pt idx="197">
                  <c:v>21</c:v>
                </c:pt>
                <c:pt idx="198">
                  <c:v>26</c:v>
                </c:pt>
                <c:pt idx="199">
                  <c:v>20</c:v>
                </c:pt>
                <c:pt idx="200">
                  <c:v>18</c:v>
                </c:pt>
                <c:pt idx="201">
                  <c:v>16</c:v>
                </c:pt>
                <c:pt idx="202">
                  <c:v>38</c:v>
                </c:pt>
                <c:pt idx="203">
                  <c:v>52</c:v>
                </c:pt>
                <c:pt idx="204">
                  <c:v>80</c:v>
                </c:pt>
                <c:pt idx="205">
                  <c:v>47</c:v>
                </c:pt>
                <c:pt idx="206">
                  <c:v>58</c:v>
                </c:pt>
                <c:pt idx="207">
                  <c:v>41</c:v>
                </c:pt>
                <c:pt idx="208">
                  <c:v>52</c:v>
                </c:pt>
                <c:pt idx="209">
                  <c:v>132</c:v>
                </c:pt>
                <c:pt idx="210">
                  <c:v>112</c:v>
                </c:pt>
                <c:pt idx="211">
                  <c:v>150</c:v>
                </c:pt>
                <c:pt idx="212">
                  <c:v>125</c:v>
                </c:pt>
                <c:pt idx="213">
                  <c:v>109</c:v>
                </c:pt>
                <c:pt idx="214">
                  <c:v>68</c:v>
                </c:pt>
                <c:pt idx="215">
                  <c:v>93</c:v>
                </c:pt>
                <c:pt idx="216">
                  <c:v>207</c:v>
                </c:pt>
                <c:pt idx="217">
                  <c:v>173</c:v>
                </c:pt>
                <c:pt idx="218">
                  <c:v>183</c:v>
                </c:pt>
                <c:pt idx="219">
                  <c:v>211</c:v>
                </c:pt>
                <c:pt idx="220">
                  <c:v>1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8C7-4733-952F-D247528AD3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3.02</c:v>
                </c:pt>
                <c:pt idx="5">
                  <c:v>04.02 - 10.02</c:v>
                </c:pt>
                <c:pt idx="6">
                  <c:v>11.02 - 17.02</c:v>
                </c:pt>
                <c:pt idx="7">
                  <c:v>18.02 - 24.02</c:v>
                </c:pt>
                <c:pt idx="8">
                  <c:v>25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9">
                  <c:v>0.56471970000000005</c:v>
                </c:pt>
                <c:pt idx="10">
                  <c:v>2.2588788000000002</c:v>
                </c:pt>
                <c:pt idx="11">
                  <c:v>9.6002349000000002</c:v>
                </c:pt>
                <c:pt idx="12">
                  <c:v>13.8356326</c:v>
                </c:pt>
                <c:pt idx="13">
                  <c:v>8.7551082999999998</c:v>
                </c:pt>
                <c:pt idx="14">
                  <c:v>4.5204380000000004</c:v>
                </c:pt>
                <c:pt idx="15">
                  <c:v>6.5005354999999998</c:v>
                </c:pt>
                <c:pt idx="16">
                  <c:v>3.3928303</c:v>
                </c:pt>
                <c:pt idx="17">
                  <c:v>1.9798395</c:v>
                </c:pt>
                <c:pt idx="18">
                  <c:v>2.2630385999999998</c:v>
                </c:pt>
                <c:pt idx="19">
                  <c:v>0.84876669999999999</c:v>
                </c:pt>
                <c:pt idx="20">
                  <c:v>0.56592770000000003</c:v>
                </c:pt>
                <c:pt idx="21">
                  <c:v>1.4150155</c:v>
                </c:pt>
                <c:pt idx="22">
                  <c:v>1.1321437999999999</c:v>
                </c:pt>
                <c:pt idx="23">
                  <c:v>0.84919679999999997</c:v>
                </c:pt>
                <c:pt idx="24">
                  <c:v>1.4154762000000001</c:v>
                </c:pt>
                <c:pt idx="25">
                  <c:v>1.1324964</c:v>
                </c:pt>
                <c:pt idx="26">
                  <c:v>1.1325509</c:v>
                </c:pt>
                <c:pt idx="27">
                  <c:v>1.1325284</c:v>
                </c:pt>
                <c:pt idx="28">
                  <c:v>1.6987638</c:v>
                </c:pt>
                <c:pt idx="29">
                  <c:v>2.5481025000000002</c:v>
                </c:pt>
                <c:pt idx="30">
                  <c:v>4.2463205000000004</c:v>
                </c:pt>
                <c:pt idx="31">
                  <c:v>3.3953935</c:v>
                </c:pt>
                <c:pt idx="32">
                  <c:v>7.0700156999999999</c:v>
                </c:pt>
                <c:pt idx="33">
                  <c:v>6.7836660000000002</c:v>
                </c:pt>
                <c:pt idx="34">
                  <c:v>8.1922986000000009</c:v>
                </c:pt>
                <c:pt idx="35">
                  <c:v>16.353598600000002</c:v>
                </c:pt>
                <c:pt idx="36">
                  <c:v>30.657246300000001</c:v>
                </c:pt>
                <c:pt idx="37">
                  <c:v>49.097586300000003</c:v>
                </c:pt>
                <c:pt idx="38">
                  <c:v>51.775044399999999</c:v>
                </c:pt>
                <c:pt idx="39">
                  <c:v>98.864731199999994</c:v>
                </c:pt>
                <c:pt idx="40">
                  <c:v>189.17410709999999</c:v>
                </c:pt>
                <c:pt idx="41">
                  <c:v>272.0807767</c:v>
                </c:pt>
                <c:pt idx="42">
                  <c:v>318.35602390000003</c:v>
                </c:pt>
                <c:pt idx="43">
                  <c:v>202.6021011</c:v>
                </c:pt>
                <c:pt idx="44">
                  <c:v>148.27426</c:v>
                </c:pt>
                <c:pt idx="45">
                  <c:v>92.6049522</c:v>
                </c:pt>
                <c:pt idx="46">
                  <c:v>92.573544499999997</c:v>
                </c:pt>
                <c:pt idx="47">
                  <c:v>91.152129500000001</c:v>
                </c:pt>
                <c:pt idx="48">
                  <c:v>111.9615496</c:v>
                </c:pt>
                <c:pt idx="49">
                  <c:v>135.26800840000001</c:v>
                </c:pt>
                <c:pt idx="50">
                  <c:v>179.11392749999999</c:v>
                </c:pt>
                <c:pt idx="51">
                  <c:v>197.39746289999999</c:v>
                </c:pt>
                <c:pt idx="52">
                  <c:v>222.48994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549-4946-8B42-18535E62348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3.02</c:v>
                </c:pt>
                <c:pt idx="5">
                  <c:v>04.02 - 10.02</c:v>
                </c:pt>
                <c:pt idx="6">
                  <c:v>11.02 - 17.02</c:v>
                </c:pt>
                <c:pt idx="7">
                  <c:v>18.02 - 24.02</c:v>
                </c:pt>
                <c:pt idx="8">
                  <c:v>25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180.4873714</c:v>
                </c:pt>
                <c:pt idx="1">
                  <c:v>126.40995719999999</c:v>
                </c:pt>
                <c:pt idx="2">
                  <c:v>105.0729673</c:v>
                </c:pt>
                <c:pt idx="3">
                  <c:v>75.927187700000005</c:v>
                </c:pt>
                <c:pt idx="4">
                  <c:v>56.485437099999999</c:v>
                </c:pt>
                <c:pt idx="5">
                  <c:v>47.042842299999997</c:v>
                </c:pt>
                <c:pt idx="6">
                  <c:v>40.378499699999999</c:v>
                </c:pt>
                <c:pt idx="7">
                  <c:v>45.687541699999997</c:v>
                </c:pt>
                <c:pt idx="8">
                  <c:v>62.428409299999998</c:v>
                </c:pt>
                <c:pt idx="9">
                  <c:v>34.5670614</c:v>
                </c:pt>
                <c:pt idx="10">
                  <c:v>29.272862100000001</c:v>
                </c:pt>
                <c:pt idx="11">
                  <c:v>19.795741400000001</c:v>
                </c:pt>
                <c:pt idx="12">
                  <c:v>17.287819800000001</c:v>
                </c:pt>
                <c:pt idx="13">
                  <c:v>10.3158604</c:v>
                </c:pt>
                <c:pt idx="14">
                  <c:v>8.3621362000000001</c:v>
                </c:pt>
                <c:pt idx="15">
                  <c:v>9.1960940999999998</c:v>
                </c:pt>
                <c:pt idx="16">
                  <c:v>6.4078274999999998</c:v>
                </c:pt>
                <c:pt idx="17">
                  <c:v>6.9640598000000002</c:v>
                </c:pt>
                <c:pt idx="18">
                  <c:v>1.6716816999999999</c:v>
                </c:pt>
                <c:pt idx="19">
                  <c:v>4.1800661000000003</c:v>
                </c:pt>
                <c:pt idx="20">
                  <c:v>2.2298220999999998</c:v>
                </c:pt>
                <c:pt idx="21">
                  <c:v>2.5090604000000001</c:v>
                </c:pt>
                <c:pt idx="22">
                  <c:v>0.27884819999999999</c:v>
                </c:pt>
                <c:pt idx="23">
                  <c:v>0.27891510000000003</c:v>
                </c:pt>
                <c:pt idx="24">
                  <c:v>0.27898200000000001</c:v>
                </c:pt>
                <c:pt idx="25">
                  <c:v>0</c:v>
                </c:pt>
                <c:pt idx="26">
                  <c:v>0.55804659999999995</c:v>
                </c:pt>
                <c:pt idx="27">
                  <c:v>1.39456</c:v>
                </c:pt>
                <c:pt idx="28">
                  <c:v>3.3456098000000001</c:v>
                </c:pt>
                <c:pt idx="29">
                  <c:v>2.7869126</c:v>
                </c:pt>
                <c:pt idx="30">
                  <c:v>2.7857248000000001</c:v>
                </c:pt>
                <c:pt idx="31">
                  <c:v>2.7842589000000002</c:v>
                </c:pt>
                <c:pt idx="32">
                  <c:v>1.3913933000000001</c:v>
                </c:pt>
                <c:pt idx="33">
                  <c:v>1.3906542</c:v>
                </c:pt>
                <c:pt idx="34">
                  <c:v>3.0576873999999998</c:v>
                </c:pt>
                <c:pt idx="35">
                  <c:v>2.2199836999999998</c:v>
                </c:pt>
                <c:pt idx="36">
                  <c:v>3.3225718</c:v>
                </c:pt>
                <c:pt idx="37">
                  <c:v>3.0389341999999999</c:v>
                </c:pt>
                <c:pt idx="38">
                  <c:v>5.5131046000000001</c:v>
                </c:pt>
                <c:pt idx="39">
                  <c:v>6.6050924999999996</c:v>
                </c:pt>
                <c:pt idx="40">
                  <c:v>9.3551032000000003</c:v>
                </c:pt>
                <c:pt idx="41">
                  <c:v>19.8072643</c:v>
                </c:pt>
                <c:pt idx="42">
                  <c:v>34.381463699999998</c:v>
                </c:pt>
                <c:pt idx="43">
                  <c:v>62.703511300000002</c:v>
                </c:pt>
                <c:pt idx="44">
                  <c:v>69.040067899999997</c:v>
                </c:pt>
                <c:pt idx="45">
                  <c:v>89.962694299999995</c:v>
                </c:pt>
                <c:pt idx="46">
                  <c:v>104.5650917</c:v>
                </c:pt>
                <c:pt idx="47">
                  <c:v>96.880556100000007</c:v>
                </c:pt>
                <c:pt idx="48">
                  <c:v>66.903812599999995</c:v>
                </c:pt>
                <c:pt idx="49">
                  <c:v>46.822539800000001</c:v>
                </c:pt>
                <c:pt idx="50">
                  <c:v>40.778202299999997</c:v>
                </c:pt>
                <c:pt idx="51">
                  <c:v>34.178233900000002</c:v>
                </c:pt>
                <c:pt idx="52">
                  <c:v>36.6675029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549-4946-8B42-18535E62348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60B6-4916-93FC-CDB9D95E3532}"/>
              </c:ext>
            </c:extLst>
          </c:dPt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3.02</c:v>
                </c:pt>
                <c:pt idx="5">
                  <c:v>04.02 - 10.02</c:v>
                </c:pt>
                <c:pt idx="6">
                  <c:v>11.02 - 17.02</c:v>
                </c:pt>
                <c:pt idx="7">
                  <c:v>18.02 - 24.02</c:v>
                </c:pt>
                <c:pt idx="8">
                  <c:v>25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42.214466000000002</c:v>
                </c:pt>
                <c:pt idx="1">
                  <c:v>72.384488700000006</c:v>
                </c:pt>
                <c:pt idx="2">
                  <c:v>159.34623769999999</c:v>
                </c:pt>
                <c:pt idx="3">
                  <c:v>247.6468012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549-4946-8B42-18535E6234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55</c:f>
              <c:numCache>
                <c:formatCode>m/d/yyyy</c:formatCode>
                <c:ptCount val="221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9</c:v>
                </c:pt>
                <c:pt idx="21">
                  <c:v>44390</c:v>
                </c:pt>
                <c:pt idx="22">
                  <c:v>44391</c:v>
                </c:pt>
                <c:pt idx="23">
                  <c:v>44392</c:v>
                </c:pt>
                <c:pt idx="24">
                  <c:v>44393</c:v>
                </c:pt>
                <c:pt idx="25">
                  <c:v>44394</c:v>
                </c:pt>
                <c:pt idx="26">
                  <c:v>44395</c:v>
                </c:pt>
                <c:pt idx="27">
                  <c:v>44396</c:v>
                </c:pt>
                <c:pt idx="28">
                  <c:v>44397</c:v>
                </c:pt>
                <c:pt idx="29">
                  <c:v>44398</c:v>
                </c:pt>
                <c:pt idx="30">
                  <c:v>44399</c:v>
                </c:pt>
                <c:pt idx="31">
                  <c:v>44400</c:v>
                </c:pt>
                <c:pt idx="32">
                  <c:v>44401</c:v>
                </c:pt>
                <c:pt idx="33">
                  <c:v>44402</c:v>
                </c:pt>
                <c:pt idx="34">
                  <c:v>44403</c:v>
                </c:pt>
                <c:pt idx="35">
                  <c:v>44404</c:v>
                </c:pt>
                <c:pt idx="36">
                  <c:v>44405</c:v>
                </c:pt>
                <c:pt idx="37">
                  <c:v>44406</c:v>
                </c:pt>
                <c:pt idx="38">
                  <c:v>44407</c:v>
                </c:pt>
                <c:pt idx="39">
                  <c:v>44408</c:v>
                </c:pt>
                <c:pt idx="40">
                  <c:v>44409</c:v>
                </c:pt>
                <c:pt idx="41">
                  <c:v>44410</c:v>
                </c:pt>
                <c:pt idx="42">
                  <c:v>44411</c:v>
                </c:pt>
                <c:pt idx="43">
                  <c:v>44412</c:v>
                </c:pt>
                <c:pt idx="44">
                  <c:v>44413</c:v>
                </c:pt>
                <c:pt idx="45">
                  <c:v>44414</c:v>
                </c:pt>
                <c:pt idx="46">
                  <c:v>44415</c:v>
                </c:pt>
                <c:pt idx="47">
                  <c:v>44416</c:v>
                </c:pt>
                <c:pt idx="48">
                  <c:v>44417</c:v>
                </c:pt>
                <c:pt idx="49">
                  <c:v>44418</c:v>
                </c:pt>
                <c:pt idx="50">
                  <c:v>44419</c:v>
                </c:pt>
                <c:pt idx="51">
                  <c:v>44420</c:v>
                </c:pt>
                <c:pt idx="52">
                  <c:v>44421</c:v>
                </c:pt>
                <c:pt idx="53">
                  <c:v>44422</c:v>
                </c:pt>
                <c:pt idx="54">
                  <c:v>44423</c:v>
                </c:pt>
                <c:pt idx="55">
                  <c:v>44424</c:v>
                </c:pt>
                <c:pt idx="56">
                  <c:v>44425</c:v>
                </c:pt>
                <c:pt idx="57">
                  <c:v>44426</c:v>
                </c:pt>
                <c:pt idx="58">
                  <c:v>44427</c:v>
                </c:pt>
                <c:pt idx="59">
                  <c:v>44428</c:v>
                </c:pt>
                <c:pt idx="60">
                  <c:v>44429</c:v>
                </c:pt>
                <c:pt idx="61">
                  <c:v>44430</c:v>
                </c:pt>
                <c:pt idx="62">
                  <c:v>44431</c:v>
                </c:pt>
                <c:pt idx="63">
                  <c:v>44432</c:v>
                </c:pt>
                <c:pt idx="64">
                  <c:v>44433</c:v>
                </c:pt>
                <c:pt idx="65">
                  <c:v>44434</c:v>
                </c:pt>
                <c:pt idx="66">
                  <c:v>44435</c:v>
                </c:pt>
                <c:pt idx="67">
                  <c:v>44436</c:v>
                </c:pt>
                <c:pt idx="68">
                  <c:v>44437</c:v>
                </c:pt>
                <c:pt idx="69">
                  <c:v>44438</c:v>
                </c:pt>
                <c:pt idx="70">
                  <c:v>44439</c:v>
                </c:pt>
                <c:pt idx="71">
                  <c:v>44440</c:v>
                </c:pt>
                <c:pt idx="72">
                  <c:v>44441</c:v>
                </c:pt>
                <c:pt idx="73">
                  <c:v>44442</c:v>
                </c:pt>
                <c:pt idx="74">
                  <c:v>44443</c:v>
                </c:pt>
                <c:pt idx="75">
                  <c:v>44444</c:v>
                </c:pt>
                <c:pt idx="76">
                  <c:v>44445</c:v>
                </c:pt>
                <c:pt idx="77">
                  <c:v>44446</c:v>
                </c:pt>
                <c:pt idx="78">
                  <c:v>44447</c:v>
                </c:pt>
                <c:pt idx="79">
                  <c:v>44448</c:v>
                </c:pt>
                <c:pt idx="80">
                  <c:v>44449</c:v>
                </c:pt>
                <c:pt idx="81">
                  <c:v>44450</c:v>
                </c:pt>
                <c:pt idx="82">
                  <c:v>44451</c:v>
                </c:pt>
                <c:pt idx="83">
                  <c:v>44452</c:v>
                </c:pt>
                <c:pt idx="84">
                  <c:v>44453</c:v>
                </c:pt>
                <c:pt idx="85">
                  <c:v>44454</c:v>
                </c:pt>
                <c:pt idx="86">
                  <c:v>44455</c:v>
                </c:pt>
                <c:pt idx="87">
                  <c:v>44456</c:v>
                </c:pt>
                <c:pt idx="88">
                  <c:v>44457</c:v>
                </c:pt>
                <c:pt idx="89">
                  <c:v>44458</c:v>
                </c:pt>
                <c:pt idx="90">
                  <c:v>44459</c:v>
                </c:pt>
                <c:pt idx="91">
                  <c:v>44460</c:v>
                </c:pt>
                <c:pt idx="92">
                  <c:v>44461</c:v>
                </c:pt>
                <c:pt idx="93">
                  <c:v>44462</c:v>
                </c:pt>
                <c:pt idx="94">
                  <c:v>44463</c:v>
                </c:pt>
                <c:pt idx="95">
                  <c:v>44464</c:v>
                </c:pt>
                <c:pt idx="96">
                  <c:v>44465</c:v>
                </c:pt>
                <c:pt idx="97">
                  <c:v>44466</c:v>
                </c:pt>
                <c:pt idx="98">
                  <c:v>44467</c:v>
                </c:pt>
                <c:pt idx="99">
                  <c:v>44468</c:v>
                </c:pt>
                <c:pt idx="100">
                  <c:v>44469</c:v>
                </c:pt>
                <c:pt idx="101">
                  <c:v>44470</c:v>
                </c:pt>
                <c:pt idx="102">
                  <c:v>44471</c:v>
                </c:pt>
                <c:pt idx="103">
                  <c:v>44472</c:v>
                </c:pt>
                <c:pt idx="104">
                  <c:v>44473</c:v>
                </c:pt>
                <c:pt idx="105">
                  <c:v>44474</c:v>
                </c:pt>
                <c:pt idx="106">
                  <c:v>44475</c:v>
                </c:pt>
                <c:pt idx="107">
                  <c:v>44476</c:v>
                </c:pt>
                <c:pt idx="108">
                  <c:v>44477</c:v>
                </c:pt>
                <c:pt idx="109">
                  <c:v>44478</c:v>
                </c:pt>
                <c:pt idx="110">
                  <c:v>44479</c:v>
                </c:pt>
                <c:pt idx="111">
                  <c:v>44480</c:v>
                </c:pt>
                <c:pt idx="112">
                  <c:v>44481</c:v>
                </c:pt>
                <c:pt idx="113">
                  <c:v>44482</c:v>
                </c:pt>
                <c:pt idx="114">
                  <c:v>44483</c:v>
                </c:pt>
                <c:pt idx="115">
                  <c:v>44484</c:v>
                </c:pt>
                <c:pt idx="116">
                  <c:v>44485</c:v>
                </c:pt>
                <c:pt idx="117">
                  <c:v>44486</c:v>
                </c:pt>
                <c:pt idx="118">
                  <c:v>44487</c:v>
                </c:pt>
                <c:pt idx="119">
                  <c:v>44488</c:v>
                </c:pt>
                <c:pt idx="120">
                  <c:v>44489</c:v>
                </c:pt>
                <c:pt idx="121">
                  <c:v>44490</c:v>
                </c:pt>
                <c:pt idx="122">
                  <c:v>44491</c:v>
                </c:pt>
                <c:pt idx="123">
                  <c:v>44492</c:v>
                </c:pt>
                <c:pt idx="124">
                  <c:v>44493</c:v>
                </c:pt>
                <c:pt idx="125">
                  <c:v>44494</c:v>
                </c:pt>
                <c:pt idx="126">
                  <c:v>44495</c:v>
                </c:pt>
                <c:pt idx="127">
                  <c:v>44496</c:v>
                </c:pt>
                <c:pt idx="128">
                  <c:v>44497</c:v>
                </c:pt>
                <c:pt idx="129">
                  <c:v>44498</c:v>
                </c:pt>
                <c:pt idx="130">
                  <c:v>44499</c:v>
                </c:pt>
                <c:pt idx="131">
                  <c:v>44500</c:v>
                </c:pt>
                <c:pt idx="132">
                  <c:v>44501</c:v>
                </c:pt>
                <c:pt idx="133">
                  <c:v>44502</c:v>
                </c:pt>
                <c:pt idx="134">
                  <c:v>44503</c:v>
                </c:pt>
                <c:pt idx="135">
                  <c:v>44504</c:v>
                </c:pt>
                <c:pt idx="136">
                  <c:v>44505</c:v>
                </c:pt>
                <c:pt idx="137">
                  <c:v>44506</c:v>
                </c:pt>
                <c:pt idx="138">
                  <c:v>44507</c:v>
                </c:pt>
                <c:pt idx="139">
                  <c:v>44508</c:v>
                </c:pt>
                <c:pt idx="140">
                  <c:v>44509</c:v>
                </c:pt>
                <c:pt idx="141">
                  <c:v>44510</c:v>
                </c:pt>
                <c:pt idx="142">
                  <c:v>44511</c:v>
                </c:pt>
                <c:pt idx="143">
                  <c:v>44512</c:v>
                </c:pt>
                <c:pt idx="144">
                  <c:v>44513</c:v>
                </c:pt>
                <c:pt idx="145">
                  <c:v>44514</c:v>
                </c:pt>
                <c:pt idx="146">
                  <c:v>44515</c:v>
                </c:pt>
                <c:pt idx="147">
                  <c:v>44516</c:v>
                </c:pt>
                <c:pt idx="148">
                  <c:v>44517</c:v>
                </c:pt>
                <c:pt idx="149">
                  <c:v>44518</c:v>
                </c:pt>
                <c:pt idx="150">
                  <c:v>44519</c:v>
                </c:pt>
                <c:pt idx="151">
                  <c:v>44520</c:v>
                </c:pt>
                <c:pt idx="152">
                  <c:v>44521</c:v>
                </c:pt>
                <c:pt idx="153">
                  <c:v>44522</c:v>
                </c:pt>
                <c:pt idx="154">
                  <c:v>44523</c:v>
                </c:pt>
                <c:pt idx="155">
                  <c:v>44524</c:v>
                </c:pt>
                <c:pt idx="156">
                  <c:v>44525</c:v>
                </c:pt>
                <c:pt idx="157">
                  <c:v>44526</c:v>
                </c:pt>
                <c:pt idx="158">
                  <c:v>44527</c:v>
                </c:pt>
                <c:pt idx="159">
                  <c:v>44528</c:v>
                </c:pt>
                <c:pt idx="160">
                  <c:v>44529</c:v>
                </c:pt>
                <c:pt idx="161">
                  <c:v>44530</c:v>
                </c:pt>
                <c:pt idx="162">
                  <c:v>44531</c:v>
                </c:pt>
                <c:pt idx="163">
                  <c:v>44532</c:v>
                </c:pt>
                <c:pt idx="164">
                  <c:v>44533</c:v>
                </c:pt>
                <c:pt idx="165">
                  <c:v>44534</c:v>
                </c:pt>
                <c:pt idx="166">
                  <c:v>44535</c:v>
                </c:pt>
                <c:pt idx="167">
                  <c:v>44536</c:v>
                </c:pt>
                <c:pt idx="168">
                  <c:v>44537</c:v>
                </c:pt>
                <c:pt idx="169">
                  <c:v>44538</c:v>
                </c:pt>
                <c:pt idx="170">
                  <c:v>44539</c:v>
                </c:pt>
                <c:pt idx="171">
                  <c:v>44540</c:v>
                </c:pt>
                <c:pt idx="172">
                  <c:v>44541</c:v>
                </c:pt>
                <c:pt idx="173">
                  <c:v>44542</c:v>
                </c:pt>
                <c:pt idx="174">
                  <c:v>44543</c:v>
                </c:pt>
                <c:pt idx="175">
                  <c:v>44544</c:v>
                </c:pt>
                <c:pt idx="176">
                  <c:v>44545</c:v>
                </c:pt>
                <c:pt idx="177">
                  <c:v>44546</c:v>
                </c:pt>
                <c:pt idx="178">
                  <c:v>44547</c:v>
                </c:pt>
                <c:pt idx="179">
                  <c:v>44548</c:v>
                </c:pt>
                <c:pt idx="180">
                  <c:v>44549</c:v>
                </c:pt>
                <c:pt idx="181">
                  <c:v>44550</c:v>
                </c:pt>
                <c:pt idx="182">
                  <c:v>44551</c:v>
                </c:pt>
                <c:pt idx="183">
                  <c:v>44552</c:v>
                </c:pt>
                <c:pt idx="184">
                  <c:v>44553</c:v>
                </c:pt>
                <c:pt idx="185">
                  <c:v>44554</c:v>
                </c:pt>
                <c:pt idx="186">
                  <c:v>44555</c:v>
                </c:pt>
                <c:pt idx="187">
                  <c:v>44556</c:v>
                </c:pt>
                <c:pt idx="188">
                  <c:v>44557</c:v>
                </c:pt>
                <c:pt idx="189">
                  <c:v>44558</c:v>
                </c:pt>
                <c:pt idx="190">
                  <c:v>44559</c:v>
                </c:pt>
                <c:pt idx="191">
                  <c:v>44560</c:v>
                </c:pt>
                <c:pt idx="192">
                  <c:v>44561</c:v>
                </c:pt>
                <c:pt idx="193">
                  <c:v>44562</c:v>
                </c:pt>
                <c:pt idx="194">
                  <c:v>44563</c:v>
                </c:pt>
                <c:pt idx="195">
                  <c:v>44564</c:v>
                </c:pt>
                <c:pt idx="196">
                  <c:v>44565</c:v>
                </c:pt>
                <c:pt idx="197">
                  <c:v>44566</c:v>
                </c:pt>
                <c:pt idx="198">
                  <c:v>44567</c:v>
                </c:pt>
                <c:pt idx="199">
                  <c:v>44568</c:v>
                </c:pt>
                <c:pt idx="200">
                  <c:v>44569</c:v>
                </c:pt>
                <c:pt idx="201">
                  <c:v>44570</c:v>
                </c:pt>
                <c:pt idx="202">
                  <c:v>44571</c:v>
                </c:pt>
                <c:pt idx="203">
                  <c:v>44572</c:v>
                </c:pt>
                <c:pt idx="204">
                  <c:v>44573</c:v>
                </c:pt>
                <c:pt idx="205">
                  <c:v>44574</c:v>
                </c:pt>
                <c:pt idx="206">
                  <c:v>44575</c:v>
                </c:pt>
                <c:pt idx="207">
                  <c:v>44576</c:v>
                </c:pt>
                <c:pt idx="208">
                  <c:v>44577</c:v>
                </c:pt>
                <c:pt idx="209">
                  <c:v>44578</c:v>
                </c:pt>
                <c:pt idx="210">
                  <c:v>44579</c:v>
                </c:pt>
                <c:pt idx="211">
                  <c:v>44580</c:v>
                </c:pt>
                <c:pt idx="212">
                  <c:v>44581</c:v>
                </c:pt>
                <c:pt idx="213">
                  <c:v>44582</c:v>
                </c:pt>
                <c:pt idx="214">
                  <c:v>44583</c:v>
                </c:pt>
                <c:pt idx="215">
                  <c:v>44584</c:v>
                </c:pt>
                <c:pt idx="216">
                  <c:v>44585</c:v>
                </c:pt>
                <c:pt idx="217">
                  <c:v>44586</c:v>
                </c:pt>
                <c:pt idx="218">
                  <c:v>44587</c:v>
                </c:pt>
                <c:pt idx="219">
                  <c:v>44588</c:v>
                </c:pt>
                <c:pt idx="220">
                  <c:v>44589</c:v>
                </c:pt>
              </c:numCache>
            </c:numRef>
          </c:cat>
          <c:val>
            <c:numRef>
              <c:f>Sheet1!$B$135:$B$355</c:f>
              <c:numCache>
                <c:formatCode>General</c:formatCode>
                <c:ptCount val="221"/>
                <c:pt idx="0">
                  <c:v>2</c:v>
                </c:pt>
                <c:pt idx="1">
                  <c:v>3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1</c:v>
                </c:pt>
                <c:pt idx="7">
                  <c:v>0</c:v>
                </c:pt>
                <c:pt idx="8">
                  <c:v>1</c:v>
                </c:pt>
                <c:pt idx="9">
                  <c:v>1</c:v>
                </c:pt>
                <c:pt idx="10">
                  <c:v>2</c:v>
                </c:pt>
                <c:pt idx="11">
                  <c:v>1</c:v>
                </c:pt>
                <c:pt idx="12">
                  <c:v>2</c:v>
                </c:pt>
                <c:pt idx="13">
                  <c:v>1</c:v>
                </c:pt>
                <c:pt idx="14">
                  <c:v>4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</c:v>
                </c:pt>
                <c:pt idx="19">
                  <c:v>1</c:v>
                </c:pt>
                <c:pt idx="20">
                  <c:v>2</c:v>
                </c:pt>
                <c:pt idx="21">
                  <c:v>3</c:v>
                </c:pt>
                <c:pt idx="22">
                  <c:v>3</c:v>
                </c:pt>
                <c:pt idx="23">
                  <c:v>3</c:v>
                </c:pt>
                <c:pt idx="24">
                  <c:v>0</c:v>
                </c:pt>
                <c:pt idx="25">
                  <c:v>0</c:v>
                </c:pt>
                <c:pt idx="26">
                  <c:v>2</c:v>
                </c:pt>
                <c:pt idx="27">
                  <c:v>5</c:v>
                </c:pt>
                <c:pt idx="28">
                  <c:v>1</c:v>
                </c:pt>
                <c:pt idx="29">
                  <c:v>4</c:v>
                </c:pt>
                <c:pt idx="30">
                  <c:v>0</c:v>
                </c:pt>
                <c:pt idx="31">
                  <c:v>4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0</c:v>
                </c:pt>
                <c:pt idx="36">
                  <c:v>0</c:v>
                </c:pt>
                <c:pt idx="37">
                  <c:v>2</c:v>
                </c:pt>
                <c:pt idx="38">
                  <c:v>1</c:v>
                </c:pt>
                <c:pt idx="39">
                  <c:v>1</c:v>
                </c:pt>
                <c:pt idx="40">
                  <c:v>0</c:v>
                </c:pt>
                <c:pt idx="41">
                  <c:v>0</c:v>
                </c:pt>
                <c:pt idx="42">
                  <c:v>2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0</c:v>
                </c:pt>
                <c:pt idx="47">
                  <c:v>0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1</c:v>
                </c:pt>
                <c:pt idx="52">
                  <c:v>2</c:v>
                </c:pt>
                <c:pt idx="53">
                  <c:v>3</c:v>
                </c:pt>
                <c:pt idx="54">
                  <c:v>1</c:v>
                </c:pt>
                <c:pt idx="55">
                  <c:v>3</c:v>
                </c:pt>
                <c:pt idx="56">
                  <c:v>3</c:v>
                </c:pt>
                <c:pt idx="57">
                  <c:v>2</c:v>
                </c:pt>
                <c:pt idx="58">
                  <c:v>1</c:v>
                </c:pt>
                <c:pt idx="59">
                  <c:v>0</c:v>
                </c:pt>
                <c:pt idx="60">
                  <c:v>0</c:v>
                </c:pt>
                <c:pt idx="61">
                  <c:v>1</c:v>
                </c:pt>
                <c:pt idx="62">
                  <c:v>5</c:v>
                </c:pt>
                <c:pt idx="63">
                  <c:v>2</c:v>
                </c:pt>
                <c:pt idx="64">
                  <c:v>0</c:v>
                </c:pt>
                <c:pt idx="65">
                  <c:v>2</c:v>
                </c:pt>
                <c:pt idx="66">
                  <c:v>1</c:v>
                </c:pt>
                <c:pt idx="67">
                  <c:v>2</c:v>
                </c:pt>
                <c:pt idx="68">
                  <c:v>1</c:v>
                </c:pt>
                <c:pt idx="69">
                  <c:v>0</c:v>
                </c:pt>
                <c:pt idx="70">
                  <c:v>2</c:v>
                </c:pt>
                <c:pt idx="71">
                  <c:v>1</c:v>
                </c:pt>
                <c:pt idx="72">
                  <c:v>6</c:v>
                </c:pt>
                <c:pt idx="73">
                  <c:v>6</c:v>
                </c:pt>
                <c:pt idx="74">
                  <c:v>1</c:v>
                </c:pt>
                <c:pt idx="75">
                  <c:v>1</c:v>
                </c:pt>
                <c:pt idx="76">
                  <c:v>2</c:v>
                </c:pt>
                <c:pt idx="77">
                  <c:v>6</c:v>
                </c:pt>
                <c:pt idx="78">
                  <c:v>1</c:v>
                </c:pt>
                <c:pt idx="79">
                  <c:v>4</c:v>
                </c:pt>
                <c:pt idx="80">
                  <c:v>0</c:v>
                </c:pt>
                <c:pt idx="81">
                  <c:v>1</c:v>
                </c:pt>
                <c:pt idx="82">
                  <c:v>2</c:v>
                </c:pt>
                <c:pt idx="83">
                  <c:v>3</c:v>
                </c:pt>
                <c:pt idx="84">
                  <c:v>5</c:v>
                </c:pt>
                <c:pt idx="85">
                  <c:v>3</c:v>
                </c:pt>
                <c:pt idx="86">
                  <c:v>8</c:v>
                </c:pt>
                <c:pt idx="87">
                  <c:v>6</c:v>
                </c:pt>
                <c:pt idx="88">
                  <c:v>2</c:v>
                </c:pt>
                <c:pt idx="89">
                  <c:v>2</c:v>
                </c:pt>
                <c:pt idx="90">
                  <c:v>10</c:v>
                </c:pt>
                <c:pt idx="91">
                  <c:v>7</c:v>
                </c:pt>
                <c:pt idx="92">
                  <c:v>6</c:v>
                </c:pt>
                <c:pt idx="93">
                  <c:v>5</c:v>
                </c:pt>
                <c:pt idx="94">
                  <c:v>7</c:v>
                </c:pt>
                <c:pt idx="95">
                  <c:v>6</c:v>
                </c:pt>
                <c:pt idx="96">
                  <c:v>6</c:v>
                </c:pt>
                <c:pt idx="97">
                  <c:v>5</c:v>
                </c:pt>
                <c:pt idx="98">
                  <c:v>9</c:v>
                </c:pt>
                <c:pt idx="99">
                  <c:v>12</c:v>
                </c:pt>
                <c:pt idx="100">
                  <c:v>16</c:v>
                </c:pt>
                <c:pt idx="101">
                  <c:v>8</c:v>
                </c:pt>
                <c:pt idx="102">
                  <c:v>5</c:v>
                </c:pt>
                <c:pt idx="103">
                  <c:v>8</c:v>
                </c:pt>
                <c:pt idx="104">
                  <c:v>10</c:v>
                </c:pt>
                <c:pt idx="105">
                  <c:v>13</c:v>
                </c:pt>
                <c:pt idx="106">
                  <c:v>9</c:v>
                </c:pt>
                <c:pt idx="107">
                  <c:v>8</c:v>
                </c:pt>
                <c:pt idx="108">
                  <c:v>9</c:v>
                </c:pt>
                <c:pt idx="109">
                  <c:v>5</c:v>
                </c:pt>
                <c:pt idx="110">
                  <c:v>4</c:v>
                </c:pt>
                <c:pt idx="111">
                  <c:v>18</c:v>
                </c:pt>
                <c:pt idx="112">
                  <c:v>19</c:v>
                </c:pt>
                <c:pt idx="113">
                  <c:v>22</c:v>
                </c:pt>
                <c:pt idx="114">
                  <c:v>21</c:v>
                </c:pt>
                <c:pt idx="115">
                  <c:v>17</c:v>
                </c:pt>
                <c:pt idx="116">
                  <c:v>10</c:v>
                </c:pt>
                <c:pt idx="117">
                  <c:v>10</c:v>
                </c:pt>
                <c:pt idx="118">
                  <c:v>35</c:v>
                </c:pt>
                <c:pt idx="119">
                  <c:v>29</c:v>
                </c:pt>
                <c:pt idx="120">
                  <c:v>26</c:v>
                </c:pt>
                <c:pt idx="121">
                  <c:v>53</c:v>
                </c:pt>
                <c:pt idx="122">
                  <c:v>43</c:v>
                </c:pt>
                <c:pt idx="123">
                  <c:v>34</c:v>
                </c:pt>
                <c:pt idx="124">
                  <c:v>11</c:v>
                </c:pt>
                <c:pt idx="125">
                  <c:v>65</c:v>
                </c:pt>
                <c:pt idx="126">
                  <c:v>68</c:v>
                </c:pt>
                <c:pt idx="127">
                  <c:v>77</c:v>
                </c:pt>
                <c:pt idx="128">
                  <c:v>35</c:v>
                </c:pt>
                <c:pt idx="129">
                  <c:v>82</c:v>
                </c:pt>
                <c:pt idx="130">
                  <c:v>63</c:v>
                </c:pt>
                <c:pt idx="131">
                  <c:v>37</c:v>
                </c:pt>
                <c:pt idx="132">
                  <c:v>111</c:v>
                </c:pt>
                <c:pt idx="133">
                  <c:v>104</c:v>
                </c:pt>
                <c:pt idx="134">
                  <c:v>117</c:v>
                </c:pt>
                <c:pt idx="135">
                  <c:v>103</c:v>
                </c:pt>
                <c:pt idx="136">
                  <c:v>112</c:v>
                </c:pt>
                <c:pt idx="137">
                  <c:v>83</c:v>
                </c:pt>
                <c:pt idx="138">
                  <c:v>28</c:v>
                </c:pt>
                <c:pt idx="139">
                  <c:v>134</c:v>
                </c:pt>
                <c:pt idx="140">
                  <c:v>147</c:v>
                </c:pt>
                <c:pt idx="141">
                  <c:v>168</c:v>
                </c:pt>
                <c:pt idx="142">
                  <c:v>96</c:v>
                </c:pt>
                <c:pt idx="143">
                  <c:v>161</c:v>
                </c:pt>
                <c:pt idx="144">
                  <c:v>97</c:v>
                </c:pt>
                <c:pt idx="145">
                  <c:v>54</c:v>
                </c:pt>
                <c:pt idx="146">
                  <c:v>160</c:v>
                </c:pt>
                <c:pt idx="147">
                  <c:v>229</c:v>
                </c:pt>
                <c:pt idx="148">
                  <c:v>121</c:v>
                </c:pt>
                <c:pt idx="149">
                  <c:v>167</c:v>
                </c:pt>
                <c:pt idx="150">
                  <c:v>236</c:v>
                </c:pt>
                <c:pt idx="151">
                  <c:v>154</c:v>
                </c:pt>
                <c:pt idx="152">
                  <c:v>84</c:v>
                </c:pt>
                <c:pt idx="153">
                  <c:v>192</c:v>
                </c:pt>
                <c:pt idx="154">
                  <c:v>259</c:v>
                </c:pt>
                <c:pt idx="155">
                  <c:v>141</c:v>
                </c:pt>
                <c:pt idx="156">
                  <c:v>214</c:v>
                </c:pt>
                <c:pt idx="157">
                  <c:v>188</c:v>
                </c:pt>
                <c:pt idx="158">
                  <c:v>108</c:v>
                </c:pt>
                <c:pt idx="159">
                  <c:v>78</c:v>
                </c:pt>
                <c:pt idx="160">
                  <c:v>200</c:v>
                </c:pt>
                <c:pt idx="161">
                  <c:v>164</c:v>
                </c:pt>
                <c:pt idx="162">
                  <c:v>175</c:v>
                </c:pt>
                <c:pt idx="163">
                  <c:v>145</c:v>
                </c:pt>
                <c:pt idx="164">
                  <c:v>146</c:v>
                </c:pt>
                <c:pt idx="165">
                  <c:v>86</c:v>
                </c:pt>
                <c:pt idx="166">
                  <c:v>65</c:v>
                </c:pt>
                <c:pt idx="167">
                  <c:v>167</c:v>
                </c:pt>
                <c:pt idx="168">
                  <c:v>153</c:v>
                </c:pt>
                <c:pt idx="169">
                  <c:v>120</c:v>
                </c:pt>
                <c:pt idx="170">
                  <c:v>127</c:v>
                </c:pt>
                <c:pt idx="171">
                  <c:v>112</c:v>
                </c:pt>
                <c:pt idx="172">
                  <c:v>74</c:v>
                </c:pt>
                <c:pt idx="173">
                  <c:v>58</c:v>
                </c:pt>
                <c:pt idx="174">
                  <c:v>103</c:v>
                </c:pt>
                <c:pt idx="175">
                  <c:v>125</c:v>
                </c:pt>
                <c:pt idx="176">
                  <c:v>86</c:v>
                </c:pt>
                <c:pt idx="177">
                  <c:v>66</c:v>
                </c:pt>
                <c:pt idx="178">
                  <c:v>81</c:v>
                </c:pt>
                <c:pt idx="179">
                  <c:v>48</c:v>
                </c:pt>
                <c:pt idx="180">
                  <c:v>33</c:v>
                </c:pt>
                <c:pt idx="181">
                  <c:v>90</c:v>
                </c:pt>
                <c:pt idx="182">
                  <c:v>83</c:v>
                </c:pt>
                <c:pt idx="183">
                  <c:v>52</c:v>
                </c:pt>
                <c:pt idx="184">
                  <c:v>60</c:v>
                </c:pt>
                <c:pt idx="185">
                  <c:v>22</c:v>
                </c:pt>
                <c:pt idx="186">
                  <c:v>18</c:v>
                </c:pt>
                <c:pt idx="187">
                  <c:v>18</c:v>
                </c:pt>
                <c:pt idx="188">
                  <c:v>75</c:v>
                </c:pt>
                <c:pt idx="189">
                  <c:v>91</c:v>
                </c:pt>
                <c:pt idx="190">
                  <c:v>56</c:v>
                </c:pt>
                <c:pt idx="191">
                  <c:v>53</c:v>
                </c:pt>
                <c:pt idx="192">
                  <c:v>52</c:v>
                </c:pt>
                <c:pt idx="193">
                  <c:v>12</c:v>
                </c:pt>
                <c:pt idx="194">
                  <c:v>36</c:v>
                </c:pt>
                <c:pt idx="195">
                  <c:v>98</c:v>
                </c:pt>
                <c:pt idx="196">
                  <c:v>80</c:v>
                </c:pt>
                <c:pt idx="197">
                  <c:v>56</c:v>
                </c:pt>
                <c:pt idx="198">
                  <c:v>59</c:v>
                </c:pt>
                <c:pt idx="199">
                  <c:v>67</c:v>
                </c:pt>
                <c:pt idx="200">
                  <c:v>37</c:v>
                </c:pt>
                <c:pt idx="201">
                  <c:v>30</c:v>
                </c:pt>
                <c:pt idx="202">
                  <c:v>71</c:v>
                </c:pt>
                <c:pt idx="203">
                  <c:v>106</c:v>
                </c:pt>
                <c:pt idx="204">
                  <c:v>117</c:v>
                </c:pt>
                <c:pt idx="205">
                  <c:v>97</c:v>
                </c:pt>
                <c:pt idx="206">
                  <c:v>113</c:v>
                </c:pt>
                <c:pt idx="207">
                  <c:v>92</c:v>
                </c:pt>
                <c:pt idx="208">
                  <c:v>68</c:v>
                </c:pt>
                <c:pt idx="209">
                  <c:v>238</c:v>
                </c:pt>
                <c:pt idx="210">
                  <c:v>270</c:v>
                </c:pt>
                <c:pt idx="211">
                  <c:v>289</c:v>
                </c:pt>
                <c:pt idx="212">
                  <c:v>291</c:v>
                </c:pt>
                <c:pt idx="213">
                  <c:v>314</c:v>
                </c:pt>
                <c:pt idx="214">
                  <c:v>171</c:v>
                </c:pt>
                <c:pt idx="215">
                  <c:v>187</c:v>
                </c:pt>
                <c:pt idx="216">
                  <c:v>418</c:v>
                </c:pt>
                <c:pt idx="217">
                  <c:v>385</c:v>
                </c:pt>
                <c:pt idx="218">
                  <c:v>438</c:v>
                </c:pt>
                <c:pt idx="219">
                  <c:v>817</c:v>
                </c:pt>
                <c:pt idx="220">
                  <c:v>6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3F-4C94-8915-777191685E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3.02</c:v>
                </c:pt>
                <c:pt idx="5">
                  <c:v>04.02 - 10.02</c:v>
                </c:pt>
                <c:pt idx="6">
                  <c:v>11.02 - 17.02</c:v>
                </c:pt>
                <c:pt idx="7">
                  <c:v>18.02 - 24.02</c:v>
                </c:pt>
                <c:pt idx="8">
                  <c:v>25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9">
                  <c:v>0</c:v>
                </c:pt>
                <c:pt idx="10">
                  <c:v>1.2684381</c:v>
                </c:pt>
                <c:pt idx="11">
                  <c:v>3.8053143999999999</c:v>
                </c:pt>
                <c:pt idx="12">
                  <c:v>10.2884428</c:v>
                </c:pt>
                <c:pt idx="13">
                  <c:v>14.8001556</c:v>
                </c:pt>
                <c:pt idx="14">
                  <c:v>7.4720081</c:v>
                </c:pt>
                <c:pt idx="15">
                  <c:v>7.8964771000000002</c:v>
                </c:pt>
                <c:pt idx="16">
                  <c:v>4.5131445000000001</c:v>
                </c:pt>
                <c:pt idx="17">
                  <c:v>5.0781112000000004</c:v>
                </c:pt>
                <c:pt idx="18">
                  <c:v>2.9623276000000001</c:v>
                </c:pt>
                <c:pt idx="19">
                  <c:v>0.84639960000000003</c:v>
                </c:pt>
                <c:pt idx="20">
                  <c:v>0.70534889999999995</c:v>
                </c:pt>
                <c:pt idx="21">
                  <c:v>1.5518027000000001</c:v>
                </c:pt>
                <c:pt idx="22">
                  <c:v>1.6929425</c:v>
                </c:pt>
                <c:pt idx="23">
                  <c:v>2.1162766999999998</c:v>
                </c:pt>
                <c:pt idx="24">
                  <c:v>1.9752751</c:v>
                </c:pt>
                <c:pt idx="25">
                  <c:v>1.1287811999999999</c:v>
                </c:pt>
                <c:pt idx="26">
                  <c:v>1.8341917999999999</c:v>
                </c:pt>
                <c:pt idx="27">
                  <c:v>3.2447241</c:v>
                </c:pt>
                <c:pt idx="28">
                  <c:v>2.3979902000000002</c:v>
                </c:pt>
                <c:pt idx="29">
                  <c:v>5.3595782999999999</c:v>
                </c:pt>
                <c:pt idx="30">
                  <c:v>3.6667127000000002</c:v>
                </c:pt>
                <c:pt idx="31">
                  <c:v>3.5255559999999999</c:v>
                </c:pt>
                <c:pt idx="32">
                  <c:v>5.0766432000000004</c:v>
                </c:pt>
                <c:pt idx="33">
                  <c:v>5.2174991999999998</c:v>
                </c:pt>
                <c:pt idx="34">
                  <c:v>9.1653470000000006</c:v>
                </c:pt>
                <c:pt idx="35">
                  <c:v>14.3694556</c:v>
                </c:pt>
                <c:pt idx="36">
                  <c:v>29.405102400000001</c:v>
                </c:pt>
                <c:pt idx="37">
                  <c:v>37.797833500000003</c:v>
                </c:pt>
                <c:pt idx="38">
                  <c:v>54.869261000000002</c:v>
                </c:pt>
                <c:pt idx="39">
                  <c:v>92.493066499999998</c:v>
                </c:pt>
                <c:pt idx="40">
                  <c:v>196.6842259</c:v>
                </c:pt>
                <c:pt idx="41">
                  <c:v>333.37948060000002</c:v>
                </c:pt>
                <c:pt idx="42">
                  <c:v>470.76441240000003</c:v>
                </c:pt>
                <c:pt idx="43">
                  <c:v>366.02843100000001</c:v>
                </c:pt>
                <c:pt idx="44">
                  <c:v>283.54715529999999</c:v>
                </c:pt>
                <c:pt idx="45">
                  <c:v>183.2703167</c:v>
                </c:pt>
                <c:pt idx="46">
                  <c:v>177.38118589999999</c:v>
                </c:pt>
                <c:pt idx="47">
                  <c:v>133.9763456</c:v>
                </c:pt>
                <c:pt idx="48">
                  <c:v>165.90263519999999</c:v>
                </c:pt>
                <c:pt idx="49">
                  <c:v>166.5820579</c:v>
                </c:pt>
                <c:pt idx="50">
                  <c:v>193.31263010000001</c:v>
                </c:pt>
                <c:pt idx="51">
                  <c:v>198.3959418</c:v>
                </c:pt>
                <c:pt idx="52">
                  <c:v>298.3166418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C63-4AAB-97B9-1EE2E94FBFD2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3.02</c:v>
                </c:pt>
                <c:pt idx="5">
                  <c:v>04.02 - 10.02</c:v>
                </c:pt>
                <c:pt idx="6">
                  <c:v>11.02 - 17.02</c:v>
                </c:pt>
                <c:pt idx="7">
                  <c:v>18.02 - 24.02</c:v>
                </c:pt>
                <c:pt idx="8">
                  <c:v>25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241.946088</c:v>
                </c:pt>
                <c:pt idx="1">
                  <c:v>181.5882531</c:v>
                </c:pt>
                <c:pt idx="2">
                  <c:v>147.61937760000001</c:v>
                </c:pt>
                <c:pt idx="3">
                  <c:v>113.6018442</c:v>
                </c:pt>
                <c:pt idx="4">
                  <c:v>91.159474000000003</c:v>
                </c:pt>
                <c:pt idx="5">
                  <c:v>89.108127499999995</c:v>
                </c:pt>
                <c:pt idx="6">
                  <c:v>88.556378300000006</c:v>
                </c:pt>
                <c:pt idx="7">
                  <c:v>101.1911123</c:v>
                </c:pt>
                <c:pt idx="8">
                  <c:v>107.7121033</c:v>
                </c:pt>
                <c:pt idx="9">
                  <c:v>93.511625100000003</c:v>
                </c:pt>
                <c:pt idx="10">
                  <c:v>80.288205500000004</c:v>
                </c:pt>
                <c:pt idx="11">
                  <c:v>62.2281847</c:v>
                </c:pt>
                <c:pt idx="12">
                  <c:v>41.971176999999997</c:v>
                </c:pt>
                <c:pt idx="13">
                  <c:v>36.126417500000002</c:v>
                </c:pt>
                <c:pt idx="14">
                  <c:v>22.956079200000001</c:v>
                </c:pt>
                <c:pt idx="15">
                  <c:v>19.066698899999999</c:v>
                </c:pt>
                <c:pt idx="16">
                  <c:v>8.8345196999999995</c:v>
                </c:pt>
                <c:pt idx="17">
                  <c:v>11.4502974</c:v>
                </c:pt>
                <c:pt idx="18">
                  <c:v>8.8318498000000005</c:v>
                </c:pt>
                <c:pt idx="19">
                  <c:v>4.2795040000000002</c:v>
                </c:pt>
                <c:pt idx="20">
                  <c:v>3.5905849000000001</c:v>
                </c:pt>
                <c:pt idx="21">
                  <c:v>1.2433342999999999</c:v>
                </c:pt>
                <c:pt idx="22">
                  <c:v>1.5198701999999999</c:v>
                </c:pt>
                <c:pt idx="23">
                  <c:v>0.69092359999999997</c:v>
                </c:pt>
                <c:pt idx="24">
                  <c:v>0.96739330000000001</c:v>
                </c:pt>
                <c:pt idx="25">
                  <c:v>0.69106780000000001</c:v>
                </c:pt>
                <c:pt idx="26">
                  <c:v>1.1051708</c:v>
                </c:pt>
                <c:pt idx="27">
                  <c:v>1.1041137000000001</c:v>
                </c:pt>
                <c:pt idx="28">
                  <c:v>1.5167079000000001</c:v>
                </c:pt>
                <c:pt idx="29">
                  <c:v>1.2397598999999999</c:v>
                </c:pt>
                <c:pt idx="30">
                  <c:v>0.82593430000000001</c:v>
                </c:pt>
                <c:pt idx="31">
                  <c:v>0.96383680000000005</c:v>
                </c:pt>
                <c:pt idx="32">
                  <c:v>2.0660530000000001</c:v>
                </c:pt>
                <c:pt idx="33">
                  <c:v>0.96447819999999995</c:v>
                </c:pt>
                <c:pt idx="34">
                  <c:v>1.2404297</c:v>
                </c:pt>
                <c:pt idx="35">
                  <c:v>2.8929643999999999</c:v>
                </c:pt>
                <c:pt idx="36">
                  <c:v>2.3399893999999999</c:v>
                </c:pt>
                <c:pt idx="37">
                  <c:v>5.3637737999999997</c:v>
                </c:pt>
                <c:pt idx="38">
                  <c:v>6.5961246999999998</c:v>
                </c:pt>
                <c:pt idx="39">
                  <c:v>9.0644399</c:v>
                </c:pt>
                <c:pt idx="40">
                  <c:v>10.9869132</c:v>
                </c:pt>
                <c:pt idx="41">
                  <c:v>18.814933799999999</c:v>
                </c:pt>
                <c:pt idx="42">
                  <c:v>44.084262699999996</c:v>
                </c:pt>
                <c:pt idx="43">
                  <c:v>70.177655200000004</c:v>
                </c:pt>
                <c:pt idx="44">
                  <c:v>99.297910200000004</c:v>
                </c:pt>
                <c:pt idx="45">
                  <c:v>116.19841630000001</c:v>
                </c:pt>
                <c:pt idx="46">
                  <c:v>156.17681350000001</c:v>
                </c:pt>
                <c:pt idx="47">
                  <c:v>142.5896645</c:v>
                </c:pt>
                <c:pt idx="48">
                  <c:v>109.8117258</c:v>
                </c:pt>
                <c:pt idx="49">
                  <c:v>86.230015399999999</c:v>
                </c:pt>
                <c:pt idx="50">
                  <c:v>56.561553000000004</c:v>
                </c:pt>
                <c:pt idx="51">
                  <c:v>42.828144799999997</c:v>
                </c:pt>
                <c:pt idx="52">
                  <c:v>42.9153505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C63-4AAB-97B9-1EE2E94FBFD2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BC63-4AAB-97B9-1EE2E94FBFD2}"/>
              </c:ext>
            </c:extLst>
          </c:dPt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3.02</c:v>
                </c:pt>
                <c:pt idx="5">
                  <c:v>04.02 - 10.02</c:v>
                </c:pt>
                <c:pt idx="6">
                  <c:v>11.02 - 17.02</c:v>
                </c:pt>
                <c:pt idx="7">
                  <c:v>18.02 - 24.02</c:v>
                </c:pt>
                <c:pt idx="8">
                  <c:v>25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46.630144299999998</c:v>
                </c:pt>
                <c:pt idx="1">
                  <c:v>60.151498799999999</c:v>
                </c:pt>
                <c:pt idx="2">
                  <c:v>158.1436348</c:v>
                </c:pt>
                <c:pt idx="3">
                  <c:v>289.100856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C63-4AAB-97B9-1EE2E94FBF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55</c:f>
              <c:numCache>
                <c:formatCode>m/d/yyyy</c:formatCode>
                <c:ptCount val="221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9</c:v>
                </c:pt>
                <c:pt idx="21">
                  <c:v>44390</c:v>
                </c:pt>
                <c:pt idx="22">
                  <c:v>44391</c:v>
                </c:pt>
                <c:pt idx="23">
                  <c:v>44392</c:v>
                </c:pt>
                <c:pt idx="24">
                  <c:v>44393</c:v>
                </c:pt>
                <c:pt idx="25">
                  <c:v>44394</c:v>
                </c:pt>
                <c:pt idx="26">
                  <c:v>44395</c:v>
                </c:pt>
                <c:pt idx="27">
                  <c:v>44396</c:v>
                </c:pt>
                <c:pt idx="28">
                  <c:v>44397</c:v>
                </c:pt>
                <c:pt idx="29">
                  <c:v>44398</c:v>
                </c:pt>
                <c:pt idx="30">
                  <c:v>44399</c:v>
                </c:pt>
                <c:pt idx="31">
                  <c:v>44400</c:v>
                </c:pt>
                <c:pt idx="32">
                  <c:v>44401</c:v>
                </c:pt>
                <c:pt idx="33">
                  <c:v>44402</c:v>
                </c:pt>
                <c:pt idx="34">
                  <c:v>44403</c:v>
                </c:pt>
                <c:pt idx="35">
                  <c:v>44404</c:v>
                </c:pt>
                <c:pt idx="36">
                  <c:v>44405</c:v>
                </c:pt>
                <c:pt idx="37">
                  <c:v>44406</c:v>
                </c:pt>
                <c:pt idx="38">
                  <c:v>44407</c:v>
                </c:pt>
                <c:pt idx="39">
                  <c:v>44408</c:v>
                </c:pt>
                <c:pt idx="40">
                  <c:v>44409</c:v>
                </c:pt>
                <c:pt idx="41">
                  <c:v>44410</c:v>
                </c:pt>
                <c:pt idx="42">
                  <c:v>44411</c:v>
                </c:pt>
                <c:pt idx="43">
                  <c:v>44412</c:v>
                </c:pt>
                <c:pt idx="44">
                  <c:v>44413</c:v>
                </c:pt>
                <c:pt idx="45">
                  <c:v>44414</c:v>
                </c:pt>
                <c:pt idx="46">
                  <c:v>44415</c:v>
                </c:pt>
                <c:pt idx="47">
                  <c:v>44416</c:v>
                </c:pt>
                <c:pt idx="48">
                  <c:v>44417</c:v>
                </c:pt>
                <c:pt idx="49">
                  <c:v>44418</c:v>
                </c:pt>
                <c:pt idx="50">
                  <c:v>44419</c:v>
                </c:pt>
                <c:pt idx="51">
                  <c:v>44420</c:v>
                </c:pt>
                <c:pt idx="52">
                  <c:v>44421</c:v>
                </c:pt>
                <c:pt idx="53">
                  <c:v>44422</c:v>
                </c:pt>
                <c:pt idx="54">
                  <c:v>44423</c:v>
                </c:pt>
                <c:pt idx="55">
                  <c:v>44424</c:v>
                </c:pt>
                <c:pt idx="56">
                  <c:v>44425</c:v>
                </c:pt>
                <c:pt idx="57">
                  <c:v>44426</c:v>
                </c:pt>
                <c:pt idx="58">
                  <c:v>44427</c:v>
                </c:pt>
                <c:pt idx="59">
                  <c:v>44428</c:v>
                </c:pt>
                <c:pt idx="60">
                  <c:v>44429</c:v>
                </c:pt>
                <c:pt idx="61">
                  <c:v>44430</c:v>
                </c:pt>
                <c:pt idx="62">
                  <c:v>44431</c:v>
                </c:pt>
                <c:pt idx="63">
                  <c:v>44432</c:v>
                </c:pt>
                <c:pt idx="64">
                  <c:v>44433</c:v>
                </c:pt>
                <c:pt idx="65">
                  <c:v>44434</c:v>
                </c:pt>
                <c:pt idx="66">
                  <c:v>44435</c:v>
                </c:pt>
                <c:pt idx="67">
                  <c:v>44436</c:v>
                </c:pt>
                <c:pt idx="68">
                  <c:v>44437</c:v>
                </c:pt>
                <c:pt idx="69">
                  <c:v>44438</c:v>
                </c:pt>
                <c:pt idx="70">
                  <c:v>44439</c:v>
                </c:pt>
                <c:pt idx="71">
                  <c:v>44440</c:v>
                </c:pt>
                <c:pt idx="72">
                  <c:v>44441</c:v>
                </c:pt>
                <c:pt idx="73">
                  <c:v>44442</c:v>
                </c:pt>
                <c:pt idx="74">
                  <c:v>44443</c:v>
                </c:pt>
                <c:pt idx="75">
                  <c:v>44444</c:v>
                </c:pt>
                <c:pt idx="76">
                  <c:v>44445</c:v>
                </c:pt>
                <c:pt idx="77">
                  <c:v>44446</c:v>
                </c:pt>
                <c:pt idx="78">
                  <c:v>44447</c:v>
                </c:pt>
                <c:pt idx="79">
                  <c:v>44448</c:v>
                </c:pt>
                <c:pt idx="80">
                  <c:v>44449</c:v>
                </c:pt>
                <c:pt idx="81">
                  <c:v>44450</c:v>
                </c:pt>
                <c:pt idx="82">
                  <c:v>44451</c:v>
                </c:pt>
                <c:pt idx="83">
                  <c:v>44452</c:v>
                </c:pt>
                <c:pt idx="84">
                  <c:v>44453</c:v>
                </c:pt>
                <c:pt idx="85">
                  <c:v>44454</c:v>
                </c:pt>
                <c:pt idx="86">
                  <c:v>44455</c:v>
                </c:pt>
                <c:pt idx="87">
                  <c:v>44456</c:v>
                </c:pt>
                <c:pt idx="88">
                  <c:v>44457</c:v>
                </c:pt>
                <c:pt idx="89">
                  <c:v>44458</c:v>
                </c:pt>
                <c:pt idx="90">
                  <c:v>44459</c:v>
                </c:pt>
                <c:pt idx="91">
                  <c:v>44460</c:v>
                </c:pt>
                <c:pt idx="92">
                  <c:v>44461</c:v>
                </c:pt>
                <c:pt idx="93">
                  <c:v>44462</c:v>
                </c:pt>
                <c:pt idx="94">
                  <c:v>44463</c:v>
                </c:pt>
                <c:pt idx="95">
                  <c:v>44464</c:v>
                </c:pt>
                <c:pt idx="96">
                  <c:v>44465</c:v>
                </c:pt>
                <c:pt idx="97">
                  <c:v>44466</c:v>
                </c:pt>
                <c:pt idx="98">
                  <c:v>44467</c:v>
                </c:pt>
                <c:pt idx="99">
                  <c:v>44468</c:v>
                </c:pt>
                <c:pt idx="100">
                  <c:v>44469</c:v>
                </c:pt>
                <c:pt idx="101">
                  <c:v>44470</c:v>
                </c:pt>
                <c:pt idx="102">
                  <c:v>44471</c:v>
                </c:pt>
                <c:pt idx="103">
                  <c:v>44472</c:v>
                </c:pt>
                <c:pt idx="104">
                  <c:v>44473</c:v>
                </c:pt>
                <c:pt idx="105">
                  <c:v>44474</c:v>
                </c:pt>
                <c:pt idx="106">
                  <c:v>44475</c:v>
                </c:pt>
                <c:pt idx="107">
                  <c:v>44476</c:v>
                </c:pt>
                <c:pt idx="108">
                  <c:v>44477</c:v>
                </c:pt>
                <c:pt idx="109">
                  <c:v>44478</c:v>
                </c:pt>
                <c:pt idx="110">
                  <c:v>44479</c:v>
                </c:pt>
                <c:pt idx="111">
                  <c:v>44480</c:v>
                </c:pt>
                <c:pt idx="112">
                  <c:v>44481</c:v>
                </c:pt>
                <c:pt idx="113">
                  <c:v>44482</c:v>
                </c:pt>
                <c:pt idx="114">
                  <c:v>44483</c:v>
                </c:pt>
                <c:pt idx="115">
                  <c:v>44484</c:v>
                </c:pt>
                <c:pt idx="116">
                  <c:v>44485</c:v>
                </c:pt>
                <c:pt idx="117">
                  <c:v>44486</c:v>
                </c:pt>
                <c:pt idx="118">
                  <c:v>44487</c:v>
                </c:pt>
                <c:pt idx="119">
                  <c:v>44488</c:v>
                </c:pt>
                <c:pt idx="120">
                  <c:v>44489</c:v>
                </c:pt>
                <c:pt idx="121">
                  <c:v>44490</c:v>
                </c:pt>
                <c:pt idx="122">
                  <c:v>44491</c:v>
                </c:pt>
                <c:pt idx="123">
                  <c:v>44492</c:v>
                </c:pt>
                <c:pt idx="124">
                  <c:v>44493</c:v>
                </c:pt>
                <c:pt idx="125">
                  <c:v>44494</c:v>
                </c:pt>
                <c:pt idx="126">
                  <c:v>44495</c:v>
                </c:pt>
                <c:pt idx="127">
                  <c:v>44496</c:v>
                </c:pt>
                <c:pt idx="128">
                  <c:v>44497</c:v>
                </c:pt>
                <c:pt idx="129">
                  <c:v>44498</c:v>
                </c:pt>
                <c:pt idx="130">
                  <c:v>44499</c:v>
                </c:pt>
                <c:pt idx="131">
                  <c:v>44500</c:v>
                </c:pt>
                <c:pt idx="132">
                  <c:v>44501</c:v>
                </c:pt>
                <c:pt idx="133">
                  <c:v>44502</c:v>
                </c:pt>
                <c:pt idx="134">
                  <c:v>44503</c:v>
                </c:pt>
                <c:pt idx="135">
                  <c:v>44504</c:v>
                </c:pt>
                <c:pt idx="136">
                  <c:v>44505</c:v>
                </c:pt>
                <c:pt idx="137">
                  <c:v>44506</c:v>
                </c:pt>
                <c:pt idx="138">
                  <c:v>44507</c:v>
                </c:pt>
                <c:pt idx="139">
                  <c:v>44508</c:v>
                </c:pt>
                <c:pt idx="140">
                  <c:v>44509</c:v>
                </c:pt>
                <c:pt idx="141">
                  <c:v>44510</c:v>
                </c:pt>
                <c:pt idx="142">
                  <c:v>44511</c:v>
                </c:pt>
                <c:pt idx="143">
                  <c:v>44512</c:v>
                </c:pt>
                <c:pt idx="144">
                  <c:v>44513</c:v>
                </c:pt>
                <c:pt idx="145">
                  <c:v>44514</c:v>
                </c:pt>
                <c:pt idx="146">
                  <c:v>44515</c:v>
                </c:pt>
                <c:pt idx="147">
                  <c:v>44516</c:v>
                </c:pt>
                <c:pt idx="148">
                  <c:v>44517</c:v>
                </c:pt>
                <c:pt idx="149">
                  <c:v>44518</c:v>
                </c:pt>
                <c:pt idx="150">
                  <c:v>44519</c:v>
                </c:pt>
                <c:pt idx="151">
                  <c:v>44520</c:v>
                </c:pt>
                <c:pt idx="152">
                  <c:v>44521</c:v>
                </c:pt>
                <c:pt idx="153">
                  <c:v>44522</c:v>
                </c:pt>
                <c:pt idx="154">
                  <c:v>44523</c:v>
                </c:pt>
                <c:pt idx="155">
                  <c:v>44524</c:v>
                </c:pt>
                <c:pt idx="156">
                  <c:v>44525</c:v>
                </c:pt>
                <c:pt idx="157">
                  <c:v>44526</c:v>
                </c:pt>
                <c:pt idx="158">
                  <c:v>44527</c:v>
                </c:pt>
                <c:pt idx="159">
                  <c:v>44528</c:v>
                </c:pt>
                <c:pt idx="160">
                  <c:v>44529</c:v>
                </c:pt>
                <c:pt idx="161">
                  <c:v>44530</c:v>
                </c:pt>
                <c:pt idx="162">
                  <c:v>44531</c:v>
                </c:pt>
                <c:pt idx="163">
                  <c:v>44532</c:v>
                </c:pt>
                <c:pt idx="164">
                  <c:v>44533</c:v>
                </c:pt>
                <c:pt idx="165">
                  <c:v>44534</c:v>
                </c:pt>
                <c:pt idx="166">
                  <c:v>44535</c:v>
                </c:pt>
                <c:pt idx="167">
                  <c:v>44536</c:v>
                </c:pt>
                <c:pt idx="168">
                  <c:v>44537</c:v>
                </c:pt>
                <c:pt idx="169">
                  <c:v>44538</c:v>
                </c:pt>
                <c:pt idx="170">
                  <c:v>44539</c:v>
                </c:pt>
                <c:pt idx="171">
                  <c:v>44540</c:v>
                </c:pt>
                <c:pt idx="172">
                  <c:v>44541</c:v>
                </c:pt>
                <c:pt idx="173">
                  <c:v>44542</c:v>
                </c:pt>
                <c:pt idx="174">
                  <c:v>44543</c:v>
                </c:pt>
                <c:pt idx="175">
                  <c:v>44544</c:v>
                </c:pt>
                <c:pt idx="176">
                  <c:v>44545</c:v>
                </c:pt>
                <c:pt idx="177">
                  <c:v>44546</c:v>
                </c:pt>
                <c:pt idx="178">
                  <c:v>44547</c:v>
                </c:pt>
                <c:pt idx="179">
                  <c:v>44548</c:v>
                </c:pt>
                <c:pt idx="180">
                  <c:v>44549</c:v>
                </c:pt>
                <c:pt idx="181">
                  <c:v>44550</c:v>
                </c:pt>
                <c:pt idx="182">
                  <c:v>44551</c:v>
                </c:pt>
                <c:pt idx="183">
                  <c:v>44552</c:v>
                </c:pt>
                <c:pt idx="184">
                  <c:v>44553</c:v>
                </c:pt>
                <c:pt idx="185">
                  <c:v>44554</c:v>
                </c:pt>
                <c:pt idx="186">
                  <c:v>44555</c:v>
                </c:pt>
                <c:pt idx="187">
                  <c:v>44556</c:v>
                </c:pt>
                <c:pt idx="188">
                  <c:v>44557</c:v>
                </c:pt>
                <c:pt idx="189">
                  <c:v>44558</c:v>
                </c:pt>
                <c:pt idx="190">
                  <c:v>44559</c:v>
                </c:pt>
                <c:pt idx="191">
                  <c:v>44560</c:v>
                </c:pt>
                <c:pt idx="192">
                  <c:v>44561</c:v>
                </c:pt>
                <c:pt idx="193">
                  <c:v>44562</c:v>
                </c:pt>
                <c:pt idx="194">
                  <c:v>44563</c:v>
                </c:pt>
                <c:pt idx="195">
                  <c:v>44564</c:v>
                </c:pt>
                <c:pt idx="196">
                  <c:v>44565</c:v>
                </c:pt>
                <c:pt idx="197">
                  <c:v>44566</c:v>
                </c:pt>
                <c:pt idx="198">
                  <c:v>44567</c:v>
                </c:pt>
                <c:pt idx="199">
                  <c:v>44568</c:v>
                </c:pt>
                <c:pt idx="200">
                  <c:v>44569</c:v>
                </c:pt>
                <c:pt idx="201">
                  <c:v>44570</c:v>
                </c:pt>
                <c:pt idx="202">
                  <c:v>44571</c:v>
                </c:pt>
                <c:pt idx="203">
                  <c:v>44572</c:v>
                </c:pt>
                <c:pt idx="204">
                  <c:v>44573</c:v>
                </c:pt>
                <c:pt idx="205">
                  <c:v>44574</c:v>
                </c:pt>
                <c:pt idx="206">
                  <c:v>44575</c:v>
                </c:pt>
                <c:pt idx="207">
                  <c:v>44576</c:v>
                </c:pt>
                <c:pt idx="208">
                  <c:v>44577</c:v>
                </c:pt>
                <c:pt idx="209">
                  <c:v>44578</c:v>
                </c:pt>
                <c:pt idx="210">
                  <c:v>44579</c:v>
                </c:pt>
                <c:pt idx="211">
                  <c:v>44580</c:v>
                </c:pt>
                <c:pt idx="212">
                  <c:v>44581</c:v>
                </c:pt>
                <c:pt idx="213">
                  <c:v>44582</c:v>
                </c:pt>
                <c:pt idx="214">
                  <c:v>44583</c:v>
                </c:pt>
                <c:pt idx="215">
                  <c:v>44584</c:v>
                </c:pt>
                <c:pt idx="216">
                  <c:v>44585</c:v>
                </c:pt>
                <c:pt idx="217">
                  <c:v>44586</c:v>
                </c:pt>
                <c:pt idx="218">
                  <c:v>44587</c:v>
                </c:pt>
                <c:pt idx="219">
                  <c:v>44588</c:v>
                </c:pt>
                <c:pt idx="220">
                  <c:v>44589</c:v>
                </c:pt>
              </c:numCache>
            </c:numRef>
          </c:cat>
          <c:val>
            <c:numRef>
              <c:f>Sheet1!$B$135:$B$355</c:f>
              <c:numCache>
                <c:formatCode>General</c:formatCode>
                <c:ptCount val="221"/>
                <c:pt idx="0">
                  <c:v>2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  <c:pt idx="8">
                  <c:v>2</c:v>
                </c:pt>
                <c:pt idx="9">
                  <c:v>0</c:v>
                </c:pt>
                <c:pt idx="10">
                  <c:v>1</c:v>
                </c:pt>
                <c:pt idx="11">
                  <c:v>0</c:v>
                </c:pt>
                <c:pt idx="12">
                  <c:v>2</c:v>
                </c:pt>
                <c:pt idx="13">
                  <c:v>0</c:v>
                </c:pt>
                <c:pt idx="14">
                  <c:v>0</c:v>
                </c:pt>
                <c:pt idx="15">
                  <c:v>1</c:v>
                </c:pt>
                <c:pt idx="16">
                  <c:v>1</c:v>
                </c:pt>
                <c:pt idx="17">
                  <c:v>5</c:v>
                </c:pt>
                <c:pt idx="18">
                  <c:v>4</c:v>
                </c:pt>
                <c:pt idx="19">
                  <c:v>0</c:v>
                </c:pt>
                <c:pt idx="20">
                  <c:v>3</c:v>
                </c:pt>
                <c:pt idx="21">
                  <c:v>0</c:v>
                </c:pt>
                <c:pt idx="22">
                  <c:v>4</c:v>
                </c:pt>
                <c:pt idx="23">
                  <c:v>2</c:v>
                </c:pt>
                <c:pt idx="24">
                  <c:v>5</c:v>
                </c:pt>
                <c:pt idx="25">
                  <c:v>1</c:v>
                </c:pt>
                <c:pt idx="26">
                  <c:v>1</c:v>
                </c:pt>
                <c:pt idx="27">
                  <c:v>4</c:v>
                </c:pt>
                <c:pt idx="28">
                  <c:v>5</c:v>
                </c:pt>
                <c:pt idx="29">
                  <c:v>1</c:v>
                </c:pt>
                <c:pt idx="30">
                  <c:v>3</c:v>
                </c:pt>
                <c:pt idx="31">
                  <c:v>2</c:v>
                </c:pt>
                <c:pt idx="32">
                  <c:v>0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1</c:v>
                </c:pt>
                <c:pt idx="37">
                  <c:v>4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2</c:v>
                </c:pt>
                <c:pt idx="42">
                  <c:v>4</c:v>
                </c:pt>
                <c:pt idx="43">
                  <c:v>3</c:v>
                </c:pt>
                <c:pt idx="44">
                  <c:v>1</c:v>
                </c:pt>
                <c:pt idx="45">
                  <c:v>3</c:v>
                </c:pt>
                <c:pt idx="46">
                  <c:v>1</c:v>
                </c:pt>
                <c:pt idx="47">
                  <c:v>0</c:v>
                </c:pt>
                <c:pt idx="48">
                  <c:v>8</c:v>
                </c:pt>
                <c:pt idx="49">
                  <c:v>1</c:v>
                </c:pt>
                <c:pt idx="50">
                  <c:v>1</c:v>
                </c:pt>
                <c:pt idx="51">
                  <c:v>2</c:v>
                </c:pt>
                <c:pt idx="52">
                  <c:v>7</c:v>
                </c:pt>
                <c:pt idx="53">
                  <c:v>2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0</c:v>
                </c:pt>
                <c:pt idx="59">
                  <c:v>3</c:v>
                </c:pt>
                <c:pt idx="60">
                  <c:v>2</c:v>
                </c:pt>
                <c:pt idx="61">
                  <c:v>2</c:v>
                </c:pt>
                <c:pt idx="62">
                  <c:v>1</c:v>
                </c:pt>
                <c:pt idx="63">
                  <c:v>3</c:v>
                </c:pt>
                <c:pt idx="64">
                  <c:v>5</c:v>
                </c:pt>
                <c:pt idx="65">
                  <c:v>2</c:v>
                </c:pt>
                <c:pt idx="66">
                  <c:v>2</c:v>
                </c:pt>
                <c:pt idx="67">
                  <c:v>0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2</c:v>
                </c:pt>
                <c:pt idx="72">
                  <c:v>5</c:v>
                </c:pt>
                <c:pt idx="73">
                  <c:v>6</c:v>
                </c:pt>
                <c:pt idx="74">
                  <c:v>5</c:v>
                </c:pt>
                <c:pt idx="75">
                  <c:v>1</c:v>
                </c:pt>
                <c:pt idx="76">
                  <c:v>5</c:v>
                </c:pt>
                <c:pt idx="77">
                  <c:v>4</c:v>
                </c:pt>
                <c:pt idx="78">
                  <c:v>1</c:v>
                </c:pt>
                <c:pt idx="79">
                  <c:v>3</c:v>
                </c:pt>
                <c:pt idx="80">
                  <c:v>2</c:v>
                </c:pt>
                <c:pt idx="81">
                  <c:v>0</c:v>
                </c:pt>
                <c:pt idx="82">
                  <c:v>3</c:v>
                </c:pt>
                <c:pt idx="83">
                  <c:v>2</c:v>
                </c:pt>
                <c:pt idx="84">
                  <c:v>3</c:v>
                </c:pt>
                <c:pt idx="85">
                  <c:v>5</c:v>
                </c:pt>
                <c:pt idx="86">
                  <c:v>7</c:v>
                </c:pt>
                <c:pt idx="87">
                  <c:v>4</c:v>
                </c:pt>
                <c:pt idx="88">
                  <c:v>2</c:v>
                </c:pt>
                <c:pt idx="89">
                  <c:v>6</c:v>
                </c:pt>
                <c:pt idx="90">
                  <c:v>8</c:v>
                </c:pt>
                <c:pt idx="91">
                  <c:v>9</c:v>
                </c:pt>
                <c:pt idx="92">
                  <c:v>8</c:v>
                </c:pt>
                <c:pt idx="93">
                  <c:v>7</c:v>
                </c:pt>
                <c:pt idx="94">
                  <c:v>5</c:v>
                </c:pt>
                <c:pt idx="95">
                  <c:v>4</c:v>
                </c:pt>
                <c:pt idx="96">
                  <c:v>2</c:v>
                </c:pt>
                <c:pt idx="97">
                  <c:v>8</c:v>
                </c:pt>
                <c:pt idx="98">
                  <c:v>6</c:v>
                </c:pt>
                <c:pt idx="99">
                  <c:v>9</c:v>
                </c:pt>
                <c:pt idx="100">
                  <c:v>12</c:v>
                </c:pt>
                <c:pt idx="101">
                  <c:v>11</c:v>
                </c:pt>
                <c:pt idx="102">
                  <c:v>4</c:v>
                </c:pt>
                <c:pt idx="103">
                  <c:v>7</c:v>
                </c:pt>
                <c:pt idx="104">
                  <c:v>10</c:v>
                </c:pt>
                <c:pt idx="105">
                  <c:v>13</c:v>
                </c:pt>
                <c:pt idx="106">
                  <c:v>13</c:v>
                </c:pt>
                <c:pt idx="107">
                  <c:v>16</c:v>
                </c:pt>
                <c:pt idx="108">
                  <c:v>10</c:v>
                </c:pt>
                <c:pt idx="109">
                  <c:v>8</c:v>
                </c:pt>
                <c:pt idx="110">
                  <c:v>5</c:v>
                </c:pt>
                <c:pt idx="111">
                  <c:v>19</c:v>
                </c:pt>
                <c:pt idx="112">
                  <c:v>31</c:v>
                </c:pt>
                <c:pt idx="113">
                  <c:v>18</c:v>
                </c:pt>
                <c:pt idx="114">
                  <c:v>19</c:v>
                </c:pt>
                <c:pt idx="115">
                  <c:v>14</c:v>
                </c:pt>
                <c:pt idx="116">
                  <c:v>9</c:v>
                </c:pt>
                <c:pt idx="117">
                  <c:v>13</c:v>
                </c:pt>
                <c:pt idx="118">
                  <c:v>39</c:v>
                </c:pt>
                <c:pt idx="119">
                  <c:v>55</c:v>
                </c:pt>
                <c:pt idx="120">
                  <c:v>50</c:v>
                </c:pt>
                <c:pt idx="121">
                  <c:v>54</c:v>
                </c:pt>
                <c:pt idx="122">
                  <c:v>46</c:v>
                </c:pt>
                <c:pt idx="123">
                  <c:v>28</c:v>
                </c:pt>
                <c:pt idx="124">
                  <c:v>22</c:v>
                </c:pt>
                <c:pt idx="125">
                  <c:v>81</c:v>
                </c:pt>
                <c:pt idx="126">
                  <c:v>87</c:v>
                </c:pt>
                <c:pt idx="127">
                  <c:v>65</c:v>
                </c:pt>
                <c:pt idx="128">
                  <c:v>41</c:v>
                </c:pt>
                <c:pt idx="129">
                  <c:v>83</c:v>
                </c:pt>
                <c:pt idx="130">
                  <c:v>56</c:v>
                </c:pt>
                <c:pt idx="131">
                  <c:v>42</c:v>
                </c:pt>
                <c:pt idx="132">
                  <c:v>136</c:v>
                </c:pt>
                <c:pt idx="133">
                  <c:v>128</c:v>
                </c:pt>
                <c:pt idx="134">
                  <c:v>107</c:v>
                </c:pt>
                <c:pt idx="135">
                  <c:v>116</c:v>
                </c:pt>
                <c:pt idx="136">
                  <c:v>133</c:v>
                </c:pt>
                <c:pt idx="137">
                  <c:v>55</c:v>
                </c:pt>
                <c:pt idx="138">
                  <c:v>39</c:v>
                </c:pt>
                <c:pt idx="139">
                  <c:v>129</c:v>
                </c:pt>
                <c:pt idx="140">
                  <c:v>150</c:v>
                </c:pt>
                <c:pt idx="141">
                  <c:v>143</c:v>
                </c:pt>
                <c:pt idx="142">
                  <c:v>121</c:v>
                </c:pt>
                <c:pt idx="143">
                  <c:v>170</c:v>
                </c:pt>
                <c:pt idx="144">
                  <c:v>97</c:v>
                </c:pt>
                <c:pt idx="145">
                  <c:v>53</c:v>
                </c:pt>
                <c:pt idx="146">
                  <c:v>166</c:v>
                </c:pt>
                <c:pt idx="147">
                  <c:v>201</c:v>
                </c:pt>
                <c:pt idx="148">
                  <c:v>144</c:v>
                </c:pt>
                <c:pt idx="149">
                  <c:v>166</c:v>
                </c:pt>
                <c:pt idx="150">
                  <c:v>257</c:v>
                </c:pt>
                <c:pt idx="151">
                  <c:v>125</c:v>
                </c:pt>
                <c:pt idx="152">
                  <c:v>91</c:v>
                </c:pt>
                <c:pt idx="153">
                  <c:v>205</c:v>
                </c:pt>
                <c:pt idx="154">
                  <c:v>216</c:v>
                </c:pt>
                <c:pt idx="155">
                  <c:v>184</c:v>
                </c:pt>
                <c:pt idx="156">
                  <c:v>262</c:v>
                </c:pt>
                <c:pt idx="157">
                  <c:v>158</c:v>
                </c:pt>
                <c:pt idx="158">
                  <c:v>117</c:v>
                </c:pt>
                <c:pt idx="159">
                  <c:v>83</c:v>
                </c:pt>
                <c:pt idx="160">
                  <c:v>210</c:v>
                </c:pt>
                <c:pt idx="161">
                  <c:v>193</c:v>
                </c:pt>
                <c:pt idx="162">
                  <c:v>171</c:v>
                </c:pt>
                <c:pt idx="163">
                  <c:v>131</c:v>
                </c:pt>
                <c:pt idx="164">
                  <c:v>161</c:v>
                </c:pt>
                <c:pt idx="165">
                  <c:v>100</c:v>
                </c:pt>
                <c:pt idx="166">
                  <c:v>66</c:v>
                </c:pt>
                <c:pt idx="167">
                  <c:v>199</c:v>
                </c:pt>
                <c:pt idx="168">
                  <c:v>168</c:v>
                </c:pt>
                <c:pt idx="169">
                  <c:v>142</c:v>
                </c:pt>
                <c:pt idx="170">
                  <c:v>116</c:v>
                </c:pt>
                <c:pt idx="171">
                  <c:v>99</c:v>
                </c:pt>
                <c:pt idx="172">
                  <c:v>78</c:v>
                </c:pt>
                <c:pt idx="173">
                  <c:v>62</c:v>
                </c:pt>
                <c:pt idx="174">
                  <c:v>122</c:v>
                </c:pt>
                <c:pt idx="175">
                  <c:v>172</c:v>
                </c:pt>
                <c:pt idx="176">
                  <c:v>97</c:v>
                </c:pt>
                <c:pt idx="177">
                  <c:v>89</c:v>
                </c:pt>
                <c:pt idx="178">
                  <c:v>97</c:v>
                </c:pt>
                <c:pt idx="179">
                  <c:v>64</c:v>
                </c:pt>
                <c:pt idx="180">
                  <c:v>43</c:v>
                </c:pt>
                <c:pt idx="181">
                  <c:v>106</c:v>
                </c:pt>
                <c:pt idx="182">
                  <c:v>97</c:v>
                </c:pt>
                <c:pt idx="183">
                  <c:v>44</c:v>
                </c:pt>
                <c:pt idx="184">
                  <c:v>75</c:v>
                </c:pt>
                <c:pt idx="185">
                  <c:v>22</c:v>
                </c:pt>
                <c:pt idx="186">
                  <c:v>14</c:v>
                </c:pt>
                <c:pt idx="187">
                  <c:v>22</c:v>
                </c:pt>
                <c:pt idx="188">
                  <c:v>70</c:v>
                </c:pt>
                <c:pt idx="189">
                  <c:v>95</c:v>
                </c:pt>
                <c:pt idx="190">
                  <c:v>67</c:v>
                </c:pt>
                <c:pt idx="191">
                  <c:v>66</c:v>
                </c:pt>
                <c:pt idx="192">
                  <c:v>76</c:v>
                </c:pt>
                <c:pt idx="193">
                  <c:v>15</c:v>
                </c:pt>
                <c:pt idx="194">
                  <c:v>27</c:v>
                </c:pt>
                <c:pt idx="195">
                  <c:v>100</c:v>
                </c:pt>
                <c:pt idx="196">
                  <c:v>96</c:v>
                </c:pt>
                <c:pt idx="197">
                  <c:v>84</c:v>
                </c:pt>
                <c:pt idx="198">
                  <c:v>78</c:v>
                </c:pt>
                <c:pt idx="199">
                  <c:v>76</c:v>
                </c:pt>
                <c:pt idx="200">
                  <c:v>35</c:v>
                </c:pt>
                <c:pt idx="201">
                  <c:v>29</c:v>
                </c:pt>
                <c:pt idx="202">
                  <c:v>84</c:v>
                </c:pt>
                <c:pt idx="203">
                  <c:v>117</c:v>
                </c:pt>
                <c:pt idx="204">
                  <c:v>114</c:v>
                </c:pt>
                <c:pt idx="205">
                  <c:v>92</c:v>
                </c:pt>
                <c:pt idx="206">
                  <c:v>108</c:v>
                </c:pt>
                <c:pt idx="207">
                  <c:v>79</c:v>
                </c:pt>
                <c:pt idx="208">
                  <c:v>69</c:v>
                </c:pt>
                <c:pt idx="209">
                  <c:v>216</c:v>
                </c:pt>
                <c:pt idx="210">
                  <c:v>247</c:v>
                </c:pt>
                <c:pt idx="211">
                  <c:v>299</c:v>
                </c:pt>
                <c:pt idx="212">
                  <c:v>299</c:v>
                </c:pt>
                <c:pt idx="213">
                  <c:v>264</c:v>
                </c:pt>
                <c:pt idx="214">
                  <c:v>177</c:v>
                </c:pt>
                <c:pt idx="215">
                  <c:v>166</c:v>
                </c:pt>
                <c:pt idx="216">
                  <c:v>362</c:v>
                </c:pt>
                <c:pt idx="217">
                  <c:v>353</c:v>
                </c:pt>
                <c:pt idx="218">
                  <c:v>434</c:v>
                </c:pt>
                <c:pt idx="219">
                  <c:v>647</c:v>
                </c:pt>
                <c:pt idx="220">
                  <c:v>5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3F-4C94-8915-777191685E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3.02</c:v>
                </c:pt>
                <c:pt idx="5">
                  <c:v>04.02 - 10.02</c:v>
                </c:pt>
                <c:pt idx="6">
                  <c:v>11.02 - 17.02</c:v>
                </c:pt>
                <c:pt idx="7">
                  <c:v>18.02 - 24.02</c:v>
                </c:pt>
                <c:pt idx="8">
                  <c:v>25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9">
                  <c:v>0.32531480000000002</c:v>
                </c:pt>
                <c:pt idx="10">
                  <c:v>0.48797220000000002</c:v>
                </c:pt>
                <c:pt idx="11">
                  <c:v>3.9037782999999999</c:v>
                </c:pt>
                <c:pt idx="12">
                  <c:v>9.2714736000000002</c:v>
                </c:pt>
                <c:pt idx="13">
                  <c:v>10.726509699999999</c:v>
                </c:pt>
                <c:pt idx="14">
                  <c:v>10.873199</c:v>
                </c:pt>
                <c:pt idx="15">
                  <c:v>9.0748513000000006</c:v>
                </c:pt>
                <c:pt idx="16">
                  <c:v>3.5599511000000001</c:v>
                </c:pt>
                <c:pt idx="17">
                  <c:v>3.7172678000000001</c:v>
                </c:pt>
                <c:pt idx="18">
                  <c:v>1.292618</c:v>
                </c:pt>
                <c:pt idx="19">
                  <c:v>0.80774000000000001</c:v>
                </c:pt>
                <c:pt idx="20">
                  <c:v>0.64607510000000001</c:v>
                </c:pt>
                <c:pt idx="21">
                  <c:v>1.6148853000000001</c:v>
                </c:pt>
                <c:pt idx="22">
                  <c:v>2.2602883</c:v>
                </c:pt>
                <c:pt idx="23">
                  <c:v>1.6140721</c:v>
                </c:pt>
                <c:pt idx="24">
                  <c:v>2.2591139</c:v>
                </c:pt>
                <c:pt idx="25">
                  <c:v>1.6132336</c:v>
                </c:pt>
                <c:pt idx="26">
                  <c:v>1.4515823999999999</c:v>
                </c:pt>
                <c:pt idx="27">
                  <c:v>2.7415153999999999</c:v>
                </c:pt>
                <c:pt idx="28">
                  <c:v>3.0636415000000001</c:v>
                </c:pt>
                <c:pt idx="29">
                  <c:v>4.0305808000000001</c:v>
                </c:pt>
                <c:pt idx="30">
                  <c:v>4.0298335999999999</c:v>
                </c:pt>
                <c:pt idx="31">
                  <c:v>4.9951980999999996</c:v>
                </c:pt>
                <c:pt idx="32">
                  <c:v>8.0537215</c:v>
                </c:pt>
                <c:pt idx="33">
                  <c:v>5.6354809000000001</c:v>
                </c:pt>
                <c:pt idx="34">
                  <c:v>5.3113410999999999</c:v>
                </c:pt>
                <c:pt idx="35">
                  <c:v>15.112807399999999</c:v>
                </c:pt>
                <c:pt idx="36">
                  <c:v>29.219955599999999</c:v>
                </c:pt>
                <c:pt idx="37">
                  <c:v>45.852953100000001</c:v>
                </c:pt>
                <c:pt idx="38">
                  <c:v>47.549975500000002</c:v>
                </c:pt>
                <c:pt idx="39">
                  <c:v>99.105176099999994</c:v>
                </c:pt>
                <c:pt idx="40">
                  <c:v>174.7757842</c:v>
                </c:pt>
                <c:pt idx="41">
                  <c:v>317.49219410000001</c:v>
                </c:pt>
                <c:pt idx="42">
                  <c:v>416.82648460000001</c:v>
                </c:pt>
                <c:pt idx="43">
                  <c:v>340.63213949999999</c:v>
                </c:pt>
                <c:pt idx="44">
                  <c:v>252.63597780000001</c:v>
                </c:pt>
                <c:pt idx="45">
                  <c:v>167.12415590000001</c:v>
                </c:pt>
                <c:pt idx="46">
                  <c:v>136.3112419</c:v>
                </c:pt>
                <c:pt idx="47">
                  <c:v>108.0818982</c:v>
                </c:pt>
                <c:pt idx="48">
                  <c:v>124.0785685</c:v>
                </c:pt>
                <c:pt idx="49">
                  <c:v>138.5377503</c:v>
                </c:pt>
                <c:pt idx="50">
                  <c:v>164.8667805</c:v>
                </c:pt>
                <c:pt idx="51">
                  <c:v>181.62690670000001</c:v>
                </c:pt>
                <c:pt idx="52">
                  <c:v>313.0118878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D87-4662-BB8A-7C8E4F3CFE2C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3.02</c:v>
                </c:pt>
                <c:pt idx="5">
                  <c:v>04.02 - 10.02</c:v>
                </c:pt>
                <c:pt idx="6">
                  <c:v>11.02 - 17.02</c:v>
                </c:pt>
                <c:pt idx="7">
                  <c:v>18.02 - 24.02</c:v>
                </c:pt>
                <c:pt idx="8">
                  <c:v>25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219.6644478</c:v>
                </c:pt>
                <c:pt idx="1">
                  <c:v>178.6616756</c:v>
                </c:pt>
                <c:pt idx="2">
                  <c:v>141.94837279999999</c:v>
                </c:pt>
                <c:pt idx="3">
                  <c:v>122.6802146</c:v>
                </c:pt>
                <c:pt idx="4">
                  <c:v>99.135946200000006</c:v>
                </c:pt>
                <c:pt idx="5">
                  <c:v>101.2893483</c:v>
                </c:pt>
                <c:pt idx="6">
                  <c:v>98.105616100000006</c:v>
                </c:pt>
                <c:pt idx="7">
                  <c:v>110.7366468</c:v>
                </c:pt>
                <c:pt idx="8">
                  <c:v>132.36729510000001</c:v>
                </c:pt>
                <c:pt idx="9">
                  <c:v>111.02031700000001</c:v>
                </c:pt>
                <c:pt idx="10">
                  <c:v>96.480998799999995</c:v>
                </c:pt>
                <c:pt idx="11">
                  <c:v>64.963288000000006</c:v>
                </c:pt>
                <c:pt idx="12">
                  <c:v>52.833546499999997</c:v>
                </c:pt>
                <c:pt idx="13">
                  <c:v>27.2900095</c:v>
                </c:pt>
                <c:pt idx="14">
                  <c:v>27.3753919</c:v>
                </c:pt>
                <c:pt idx="15">
                  <c:v>20.096709600000001</c:v>
                </c:pt>
                <c:pt idx="16">
                  <c:v>12.0891783</c:v>
                </c:pt>
                <c:pt idx="17">
                  <c:v>13.289016200000001</c:v>
                </c:pt>
                <c:pt idx="18">
                  <c:v>10.2374163</c:v>
                </c:pt>
                <c:pt idx="19">
                  <c:v>6.7263785</c:v>
                </c:pt>
                <c:pt idx="20">
                  <c:v>3.2118931000000002</c:v>
                </c:pt>
                <c:pt idx="21">
                  <c:v>1.3771679999999999</c:v>
                </c:pt>
                <c:pt idx="22">
                  <c:v>1.5304982</c:v>
                </c:pt>
                <c:pt idx="23">
                  <c:v>0.45920850000000002</c:v>
                </c:pt>
                <c:pt idx="24">
                  <c:v>1.2247134</c:v>
                </c:pt>
                <c:pt idx="25">
                  <c:v>0.91865319999999995</c:v>
                </c:pt>
                <c:pt idx="26">
                  <c:v>0.45920490000000003</c:v>
                </c:pt>
                <c:pt idx="27">
                  <c:v>2.4476246000000002</c:v>
                </c:pt>
                <c:pt idx="28">
                  <c:v>2.9048389999999999</c:v>
                </c:pt>
                <c:pt idx="29">
                  <c:v>2.2919238000000002</c:v>
                </c:pt>
                <c:pt idx="30">
                  <c:v>2.1385995000000002</c:v>
                </c:pt>
                <c:pt idx="31">
                  <c:v>1.9878496000000001</c:v>
                </c:pt>
                <c:pt idx="32">
                  <c:v>2.1431436000000001</c:v>
                </c:pt>
                <c:pt idx="33">
                  <c:v>2.4520320999999998</c:v>
                </c:pt>
                <c:pt idx="34">
                  <c:v>1.3807852</c:v>
                </c:pt>
                <c:pt idx="35">
                  <c:v>3.9912499000000001</c:v>
                </c:pt>
                <c:pt idx="36">
                  <c:v>2.7641065</c:v>
                </c:pt>
                <c:pt idx="37">
                  <c:v>6.6053850000000001</c:v>
                </c:pt>
                <c:pt idx="38">
                  <c:v>5.6856248000000003</c:v>
                </c:pt>
                <c:pt idx="39">
                  <c:v>9.9936039999999995</c:v>
                </c:pt>
                <c:pt idx="40">
                  <c:v>15.8471046</c:v>
                </c:pt>
                <c:pt idx="41">
                  <c:v>29.406738300000001</c:v>
                </c:pt>
                <c:pt idx="42">
                  <c:v>55.927119099999999</c:v>
                </c:pt>
                <c:pt idx="43">
                  <c:v>87.724031600000004</c:v>
                </c:pt>
                <c:pt idx="44">
                  <c:v>112.2980216</c:v>
                </c:pt>
                <c:pt idx="45">
                  <c:v>139.3641107</c:v>
                </c:pt>
                <c:pt idx="46">
                  <c:v>181.1278101</c:v>
                </c:pt>
                <c:pt idx="47">
                  <c:v>171.3347268</c:v>
                </c:pt>
                <c:pt idx="48">
                  <c:v>140.03848730000001</c:v>
                </c:pt>
                <c:pt idx="49">
                  <c:v>107.46336959999999</c:v>
                </c:pt>
                <c:pt idx="50">
                  <c:v>78.577317399999998</c:v>
                </c:pt>
                <c:pt idx="51">
                  <c:v>51.991136699999998</c:v>
                </c:pt>
                <c:pt idx="52">
                  <c:v>71.50440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D87-4662-BB8A-7C8E4F3CFE2C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7D87-4662-BB8A-7C8E4F3CFE2C}"/>
              </c:ext>
            </c:extLst>
          </c:dPt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3.02</c:v>
                </c:pt>
                <c:pt idx="5">
                  <c:v>04.02 - 10.02</c:v>
                </c:pt>
                <c:pt idx="6">
                  <c:v>11.02 - 17.02</c:v>
                </c:pt>
                <c:pt idx="7">
                  <c:v>18.02 - 24.02</c:v>
                </c:pt>
                <c:pt idx="8">
                  <c:v>25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62.794007700000002</c:v>
                </c:pt>
                <c:pt idx="1">
                  <c:v>76.050949399999993</c:v>
                </c:pt>
                <c:pt idx="2">
                  <c:v>174.72399060000001</c:v>
                </c:pt>
                <c:pt idx="3">
                  <c:v>299.827083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D87-4662-BB8A-7C8E4F3CFE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55</c:f>
              <c:numCache>
                <c:formatCode>m/d/yyyy</c:formatCode>
                <c:ptCount val="221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9</c:v>
                </c:pt>
                <c:pt idx="21">
                  <c:v>44390</c:v>
                </c:pt>
                <c:pt idx="22">
                  <c:v>44391</c:v>
                </c:pt>
                <c:pt idx="23">
                  <c:v>44392</c:v>
                </c:pt>
                <c:pt idx="24">
                  <c:v>44393</c:v>
                </c:pt>
                <c:pt idx="25">
                  <c:v>44394</c:v>
                </c:pt>
                <c:pt idx="26">
                  <c:v>44395</c:v>
                </c:pt>
                <c:pt idx="27">
                  <c:v>44396</c:v>
                </c:pt>
                <c:pt idx="28">
                  <c:v>44397</c:v>
                </c:pt>
                <c:pt idx="29">
                  <c:v>44398</c:v>
                </c:pt>
                <c:pt idx="30">
                  <c:v>44399</c:v>
                </c:pt>
                <c:pt idx="31">
                  <c:v>44400</c:v>
                </c:pt>
                <c:pt idx="32">
                  <c:v>44401</c:v>
                </c:pt>
                <c:pt idx="33">
                  <c:v>44402</c:v>
                </c:pt>
                <c:pt idx="34">
                  <c:v>44403</c:v>
                </c:pt>
                <c:pt idx="35">
                  <c:v>44404</c:v>
                </c:pt>
                <c:pt idx="36">
                  <c:v>44405</c:v>
                </c:pt>
                <c:pt idx="37">
                  <c:v>44406</c:v>
                </c:pt>
                <c:pt idx="38">
                  <c:v>44407</c:v>
                </c:pt>
                <c:pt idx="39">
                  <c:v>44408</c:v>
                </c:pt>
                <c:pt idx="40">
                  <c:v>44409</c:v>
                </c:pt>
                <c:pt idx="41">
                  <c:v>44410</c:v>
                </c:pt>
                <c:pt idx="42">
                  <c:v>44411</c:v>
                </c:pt>
                <c:pt idx="43">
                  <c:v>44412</c:v>
                </c:pt>
                <c:pt idx="44">
                  <c:v>44413</c:v>
                </c:pt>
                <c:pt idx="45">
                  <c:v>44414</c:v>
                </c:pt>
                <c:pt idx="46">
                  <c:v>44415</c:v>
                </c:pt>
                <c:pt idx="47">
                  <c:v>44416</c:v>
                </c:pt>
                <c:pt idx="48">
                  <c:v>44417</c:v>
                </c:pt>
                <c:pt idx="49">
                  <c:v>44418</c:v>
                </c:pt>
                <c:pt idx="50">
                  <c:v>44419</c:v>
                </c:pt>
                <c:pt idx="51">
                  <c:v>44420</c:v>
                </c:pt>
                <c:pt idx="52">
                  <c:v>44421</c:v>
                </c:pt>
                <c:pt idx="53">
                  <c:v>44422</c:v>
                </c:pt>
                <c:pt idx="54">
                  <c:v>44423</c:v>
                </c:pt>
                <c:pt idx="55">
                  <c:v>44424</c:v>
                </c:pt>
                <c:pt idx="56">
                  <c:v>44425</c:v>
                </c:pt>
                <c:pt idx="57">
                  <c:v>44426</c:v>
                </c:pt>
                <c:pt idx="58">
                  <c:v>44427</c:v>
                </c:pt>
                <c:pt idx="59">
                  <c:v>44428</c:v>
                </c:pt>
                <c:pt idx="60">
                  <c:v>44429</c:v>
                </c:pt>
                <c:pt idx="61">
                  <c:v>44430</c:v>
                </c:pt>
                <c:pt idx="62">
                  <c:v>44431</c:v>
                </c:pt>
                <c:pt idx="63">
                  <c:v>44432</c:v>
                </c:pt>
                <c:pt idx="64">
                  <c:v>44433</c:v>
                </c:pt>
                <c:pt idx="65">
                  <c:v>44434</c:v>
                </c:pt>
                <c:pt idx="66">
                  <c:v>44435</c:v>
                </c:pt>
                <c:pt idx="67">
                  <c:v>44436</c:v>
                </c:pt>
                <c:pt idx="68">
                  <c:v>44437</c:v>
                </c:pt>
                <c:pt idx="69">
                  <c:v>44438</c:v>
                </c:pt>
                <c:pt idx="70">
                  <c:v>44439</c:v>
                </c:pt>
                <c:pt idx="71">
                  <c:v>44440</c:v>
                </c:pt>
                <c:pt idx="72">
                  <c:v>44441</c:v>
                </c:pt>
                <c:pt idx="73">
                  <c:v>44442</c:v>
                </c:pt>
                <c:pt idx="74">
                  <c:v>44443</c:v>
                </c:pt>
                <c:pt idx="75">
                  <c:v>44444</c:v>
                </c:pt>
                <c:pt idx="76">
                  <c:v>44445</c:v>
                </c:pt>
                <c:pt idx="77">
                  <c:v>44446</c:v>
                </c:pt>
                <c:pt idx="78">
                  <c:v>44447</c:v>
                </c:pt>
                <c:pt idx="79">
                  <c:v>44448</c:v>
                </c:pt>
                <c:pt idx="80">
                  <c:v>44449</c:v>
                </c:pt>
                <c:pt idx="81">
                  <c:v>44450</c:v>
                </c:pt>
                <c:pt idx="82">
                  <c:v>44451</c:v>
                </c:pt>
                <c:pt idx="83">
                  <c:v>44452</c:v>
                </c:pt>
                <c:pt idx="84">
                  <c:v>44453</c:v>
                </c:pt>
                <c:pt idx="85">
                  <c:v>44454</c:v>
                </c:pt>
                <c:pt idx="86">
                  <c:v>44455</c:v>
                </c:pt>
                <c:pt idx="87">
                  <c:v>44456</c:v>
                </c:pt>
                <c:pt idx="88">
                  <c:v>44457</c:v>
                </c:pt>
                <c:pt idx="89">
                  <c:v>44458</c:v>
                </c:pt>
                <c:pt idx="90">
                  <c:v>44459</c:v>
                </c:pt>
                <c:pt idx="91">
                  <c:v>44460</c:v>
                </c:pt>
                <c:pt idx="92">
                  <c:v>44461</c:v>
                </c:pt>
                <c:pt idx="93">
                  <c:v>44462</c:v>
                </c:pt>
                <c:pt idx="94">
                  <c:v>44463</c:v>
                </c:pt>
                <c:pt idx="95">
                  <c:v>44464</c:v>
                </c:pt>
                <c:pt idx="96">
                  <c:v>44465</c:v>
                </c:pt>
                <c:pt idx="97">
                  <c:v>44466</c:v>
                </c:pt>
                <c:pt idx="98">
                  <c:v>44467</c:v>
                </c:pt>
                <c:pt idx="99">
                  <c:v>44468</c:v>
                </c:pt>
                <c:pt idx="100">
                  <c:v>44469</c:v>
                </c:pt>
                <c:pt idx="101">
                  <c:v>44470</c:v>
                </c:pt>
                <c:pt idx="102">
                  <c:v>44471</c:v>
                </c:pt>
                <c:pt idx="103">
                  <c:v>44472</c:v>
                </c:pt>
                <c:pt idx="104">
                  <c:v>44473</c:v>
                </c:pt>
                <c:pt idx="105">
                  <c:v>44474</c:v>
                </c:pt>
                <c:pt idx="106">
                  <c:v>44475</c:v>
                </c:pt>
                <c:pt idx="107">
                  <c:v>44476</c:v>
                </c:pt>
                <c:pt idx="108">
                  <c:v>44477</c:v>
                </c:pt>
                <c:pt idx="109">
                  <c:v>44478</c:v>
                </c:pt>
                <c:pt idx="110">
                  <c:v>44479</c:v>
                </c:pt>
                <c:pt idx="111">
                  <c:v>44480</c:v>
                </c:pt>
                <c:pt idx="112">
                  <c:v>44481</c:v>
                </c:pt>
                <c:pt idx="113">
                  <c:v>44482</c:v>
                </c:pt>
                <c:pt idx="114">
                  <c:v>44483</c:v>
                </c:pt>
                <c:pt idx="115">
                  <c:v>44484</c:v>
                </c:pt>
                <c:pt idx="116">
                  <c:v>44485</c:v>
                </c:pt>
                <c:pt idx="117">
                  <c:v>44486</c:v>
                </c:pt>
                <c:pt idx="118">
                  <c:v>44487</c:v>
                </c:pt>
                <c:pt idx="119">
                  <c:v>44488</c:v>
                </c:pt>
                <c:pt idx="120">
                  <c:v>44489</c:v>
                </c:pt>
                <c:pt idx="121">
                  <c:v>44490</c:v>
                </c:pt>
                <c:pt idx="122">
                  <c:v>44491</c:v>
                </c:pt>
                <c:pt idx="123">
                  <c:v>44492</c:v>
                </c:pt>
                <c:pt idx="124">
                  <c:v>44493</c:v>
                </c:pt>
                <c:pt idx="125">
                  <c:v>44494</c:v>
                </c:pt>
                <c:pt idx="126">
                  <c:v>44495</c:v>
                </c:pt>
                <c:pt idx="127">
                  <c:v>44496</c:v>
                </c:pt>
                <c:pt idx="128">
                  <c:v>44497</c:v>
                </c:pt>
                <c:pt idx="129">
                  <c:v>44498</c:v>
                </c:pt>
                <c:pt idx="130">
                  <c:v>44499</c:v>
                </c:pt>
                <c:pt idx="131">
                  <c:v>44500</c:v>
                </c:pt>
                <c:pt idx="132">
                  <c:v>44501</c:v>
                </c:pt>
                <c:pt idx="133">
                  <c:v>44502</c:v>
                </c:pt>
                <c:pt idx="134">
                  <c:v>44503</c:v>
                </c:pt>
                <c:pt idx="135">
                  <c:v>44504</c:v>
                </c:pt>
                <c:pt idx="136">
                  <c:v>44505</c:v>
                </c:pt>
                <c:pt idx="137">
                  <c:v>44506</c:v>
                </c:pt>
                <c:pt idx="138">
                  <c:v>44507</c:v>
                </c:pt>
                <c:pt idx="139">
                  <c:v>44508</c:v>
                </c:pt>
                <c:pt idx="140">
                  <c:v>44509</c:v>
                </c:pt>
                <c:pt idx="141">
                  <c:v>44510</c:v>
                </c:pt>
                <c:pt idx="142">
                  <c:v>44511</c:v>
                </c:pt>
                <c:pt idx="143">
                  <c:v>44512</c:v>
                </c:pt>
                <c:pt idx="144">
                  <c:v>44513</c:v>
                </c:pt>
                <c:pt idx="145">
                  <c:v>44514</c:v>
                </c:pt>
                <c:pt idx="146">
                  <c:v>44515</c:v>
                </c:pt>
                <c:pt idx="147">
                  <c:v>44516</c:v>
                </c:pt>
                <c:pt idx="148">
                  <c:v>44517</c:v>
                </c:pt>
                <c:pt idx="149">
                  <c:v>44518</c:v>
                </c:pt>
                <c:pt idx="150">
                  <c:v>44519</c:v>
                </c:pt>
                <c:pt idx="151">
                  <c:v>44520</c:v>
                </c:pt>
                <c:pt idx="152">
                  <c:v>44521</c:v>
                </c:pt>
                <c:pt idx="153">
                  <c:v>44522</c:v>
                </c:pt>
                <c:pt idx="154">
                  <c:v>44523</c:v>
                </c:pt>
                <c:pt idx="155">
                  <c:v>44524</c:v>
                </c:pt>
                <c:pt idx="156">
                  <c:v>44525</c:v>
                </c:pt>
                <c:pt idx="157">
                  <c:v>44526</c:v>
                </c:pt>
                <c:pt idx="158">
                  <c:v>44527</c:v>
                </c:pt>
                <c:pt idx="159">
                  <c:v>44528</c:v>
                </c:pt>
                <c:pt idx="160">
                  <c:v>44529</c:v>
                </c:pt>
                <c:pt idx="161">
                  <c:v>44530</c:v>
                </c:pt>
                <c:pt idx="162">
                  <c:v>44531</c:v>
                </c:pt>
                <c:pt idx="163">
                  <c:v>44532</c:v>
                </c:pt>
                <c:pt idx="164">
                  <c:v>44533</c:v>
                </c:pt>
                <c:pt idx="165">
                  <c:v>44534</c:v>
                </c:pt>
                <c:pt idx="166">
                  <c:v>44535</c:v>
                </c:pt>
                <c:pt idx="167">
                  <c:v>44536</c:v>
                </c:pt>
                <c:pt idx="168">
                  <c:v>44537</c:v>
                </c:pt>
                <c:pt idx="169">
                  <c:v>44538</c:v>
                </c:pt>
                <c:pt idx="170">
                  <c:v>44539</c:v>
                </c:pt>
                <c:pt idx="171">
                  <c:v>44540</c:v>
                </c:pt>
                <c:pt idx="172">
                  <c:v>44541</c:v>
                </c:pt>
                <c:pt idx="173">
                  <c:v>44542</c:v>
                </c:pt>
                <c:pt idx="174">
                  <c:v>44543</c:v>
                </c:pt>
                <c:pt idx="175">
                  <c:v>44544</c:v>
                </c:pt>
                <c:pt idx="176">
                  <c:v>44545</c:v>
                </c:pt>
                <c:pt idx="177">
                  <c:v>44546</c:v>
                </c:pt>
                <c:pt idx="178">
                  <c:v>44547</c:v>
                </c:pt>
                <c:pt idx="179">
                  <c:v>44548</c:v>
                </c:pt>
                <c:pt idx="180">
                  <c:v>44549</c:v>
                </c:pt>
                <c:pt idx="181">
                  <c:v>44550</c:v>
                </c:pt>
                <c:pt idx="182">
                  <c:v>44551</c:v>
                </c:pt>
                <c:pt idx="183">
                  <c:v>44552</c:v>
                </c:pt>
                <c:pt idx="184">
                  <c:v>44553</c:v>
                </c:pt>
                <c:pt idx="185">
                  <c:v>44554</c:v>
                </c:pt>
                <c:pt idx="186">
                  <c:v>44555</c:v>
                </c:pt>
                <c:pt idx="187">
                  <c:v>44556</c:v>
                </c:pt>
                <c:pt idx="188">
                  <c:v>44557</c:v>
                </c:pt>
                <c:pt idx="189">
                  <c:v>44558</c:v>
                </c:pt>
                <c:pt idx="190">
                  <c:v>44559</c:v>
                </c:pt>
                <c:pt idx="191">
                  <c:v>44560</c:v>
                </c:pt>
                <c:pt idx="192">
                  <c:v>44561</c:v>
                </c:pt>
                <c:pt idx="193">
                  <c:v>44562</c:v>
                </c:pt>
                <c:pt idx="194">
                  <c:v>44563</c:v>
                </c:pt>
                <c:pt idx="195">
                  <c:v>44564</c:v>
                </c:pt>
                <c:pt idx="196">
                  <c:v>44565</c:v>
                </c:pt>
                <c:pt idx="197">
                  <c:v>44566</c:v>
                </c:pt>
                <c:pt idx="198">
                  <c:v>44567</c:v>
                </c:pt>
                <c:pt idx="199">
                  <c:v>44568</c:v>
                </c:pt>
                <c:pt idx="200">
                  <c:v>44569</c:v>
                </c:pt>
                <c:pt idx="201">
                  <c:v>44570</c:v>
                </c:pt>
                <c:pt idx="202">
                  <c:v>44571</c:v>
                </c:pt>
                <c:pt idx="203">
                  <c:v>44572</c:v>
                </c:pt>
                <c:pt idx="204">
                  <c:v>44573</c:v>
                </c:pt>
                <c:pt idx="205">
                  <c:v>44574</c:v>
                </c:pt>
                <c:pt idx="206">
                  <c:v>44575</c:v>
                </c:pt>
                <c:pt idx="207">
                  <c:v>44576</c:v>
                </c:pt>
                <c:pt idx="208">
                  <c:v>44577</c:v>
                </c:pt>
                <c:pt idx="209">
                  <c:v>44578</c:v>
                </c:pt>
                <c:pt idx="210">
                  <c:v>44579</c:v>
                </c:pt>
                <c:pt idx="211">
                  <c:v>44580</c:v>
                </c:pt>
                <c:pt idx="212">
                  <c:v>44581</c:v>
                </c:pt>
                <c:pt idx="213">
                  <c:v>44582</c:v>
                </c:pt>
                <c:pt idx="214">
                  <c:v>44583</c:v>
                </c:pt>
                <c:pt idx="215">
                  <c:v>44584</c:v>
                </c:pt>
                <c:pt idx="216">
                  <c:v>44585</c:v>
                </c:pt>
                <c:pt idx="217">
                  <c:v>44586</c:v>
                </c:pt>
                <c:pt idx="218">
                  <c:v>44587</c:v>
                </c:pt>
                <c:pt idx="219">
                  <c:v>44588</c:v>
                </c:pt>
                <c:pt idx="220">
                  <c:v>44589</c:v>
                </c:pt>
              </c:numCache>
            </c:numRef>
          </c:cat>
          <c:val>
            <c:numRef>
              <c:f>Sheet1!$B$135:$B$355</c:f>
              <c:numCache>
                <c:formatCode>General</c:formatCode>
                <c:ptCount val="221"/>
                <c:pt idx="0">
                  <c:v>4</c:v>
                </c:pt>
                <c:pt idx="1">
                  <c:v>4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5</c:v>
                </c:pt>
                <c:pt idx="6">
                  <c:v>3</c:v>
                </c:pt>
                <c:pt idx="7">
                  <c:v>1</c:v>
                </c:pt>
                <c:pt idx="8">
                  <c:v>3</c:v>
                </c:pt>
                <c:pt idx="9">
                  <c:v>1</c:v>
                </c:pt>
                <c:pt idx="10">
                  <c:v>3</c:v>
                </c:pt>
                <c:pt idx="11">
                  <c:v>2</c:v>
                </c:pt>
                <c:pt idx="12">
                  <c:v>4</c:v>
                </c:pt>
                <c:pt idx="13">
                  <c:v>2</c:v>
                </c:pt>
                <c:pt idx="14">
                  <c:v>4</c:v>
                </c:pt>
                <c:pt idx="15">
                  <c:v>1</c:v>
                </c:pt>
                <c:pt idx="16">
                  <c:v>1</c:v>
                </c:pt>
                <c:pt idx="17">
                  <c:v>5</c:v>
                </c:pt>
                <c:pt idx="18">
                  <c:v>7</c:v>
                </c:pt>
                <c:pt idx="19">
                  <c:v>1</c:v>
                </c:pt>
                <c:pt idx="20">
                  <c:v>7</c:v>
                </c:pt>
                <c:pt idx="21">
                  <c:v>4</c:v>
                </c:pt>
                <c:pt idx="22">
                  <c:v>7</c:v>
                </c:pt>
                <c:pt idx="23">
                  <c:v>5</c:v>
                </c:pt>
                <c:pt idx="24">
                  <c:v>8</c:v>
                </c:pt>
                <c:pt idx="25">
                  <c:v>3</c:v>
                </c:pt>
                <c:pt idx="26">
                  <c:v>4</c:v>
                </c:pt>
                <c:pt idx="27">
                  <c:v>11</c:v>
                </c:pt>
                <c:pt idx="28">
                  <c:v>8</c:v>
                </c:pt>
                <c:pt idx="29">
                  <c:v>7</c:v>
                </c:pt>
                <c:pt idx="30">
                  <c:v>7</c:v>
                </c:pt>
                <c:pt idx="31">
                  <c:v>6</c:v>
                </c:pt>
                <c:pt idx="32">
                  <c:v>1</c:v>
                </c:pt>
                <c:pt idx="33">
                  <c:v>4</c:v>
                </c:pt>
                <c:pt idx="34">
                  <c:v>9</c:v>
                </c:pt>
                <c:pt idx="35">
                  <c:v>5</c:v>
                </c:pt>
                <c:pt idx="36">
                  <c:v>2</c:v>
                </c:pt>
                <c:pt idx="37">
                  <c:v>8</c:v>
                </c:pt>
                <c:pt idx="38">
                  <c:v>4</c:v>
                </c:pt>
                <c:pt idx="39">
                  <c:v>2</c:v>
                </c:pt>
                <c:pt idx="40">
                  <c:v>1</c:v>
                </c:pt>
                <c:pt idx="41">
                  <c:v>2</c:v>
                </c:pt>
                <c:pt idx="42">
                  <c:v>6</c:v>
                </c:pt>
                <c:pt idx="43">
                  <c:v>11</c:v>
                </c:pt>
                <c:pt idx="44">
                  <c:v>3</c:v>
                </c:pt>
                <c:pt idx="45">
                  <c:v>6</c:v>
                </c:pt>
                <c:pt idx="46">
                  <c:v>1</c:v>
                </c:pt>
                <c:pt idx="47">
                  <c:v>3</c:v>
                </c:pt>
                <c:pt idx="48">
                  <c:v>12</c:v>
                </c:pt>
                <c:pt idx="49">
                  <c:v>3</c:v>
                </c:pt>
                <c:pt idx="50">
                  <c:v>7</c:v>
                </c:pt>
                <c:pt idx="51">
                  <c:v>4</c:v>
                </c:pt>
                <c:pt idx="52">
                  <c:v>10</c:v>
                </c:pt>
                <c:pt idx="53">
                  <c:v>5</c:v>
                </c:pt>
                <c:pt idx="54">
                  <c:v>2</c:v>
                </c:pt>
                <c:pt idx="55">
                  <c:v>7</c:v>
                </c:pt>
                <c:pt idx="56">
                  <c:v>4</c:v>
                </c:pt>
                <c:pt idx="57">
                  <c:v>3</c:v>
                </c:pt>
                <c:pt idx="58">
                  <c:v>3</c:v>
                </c:pt>
                <c:pt idx="59">
                  <c:v>4</c:v>
                </c:pt>
                <c:pt idx="60">
                  <c:v>2</c:v>
                </c:pt>
                <c:pt idx="61">
                  <c:v>3</c:v>
                </c:pt>
                <c:pt idx="62">
                  <c:v>8</c:v>
                </c:pt>
                <c:pt idx="63">
                  <c:v>5</c:v>
                </c:pt>
                <c:pt idx="64">
                  <c:v>6</c:v>
                </c:pt>
                <c:pt idx="65">
                  <c:v>5</c:v>
                </c:pt>
                <c:pt idx="66">
                  <c:v>4</c:v>
                </c:pt>
                <c:pt idx="67">
                  <c:v>3</c:v>
                </c:pt>
                <c:pt idx="68">
                  <c:v>2</c:v>
                </c:pt>
                <c:pt idx="69">
                  <c:v>1</c:v>
                </c:pt>
                <c:pt idx="70">
                  <c:v>7</c:v>
                </c:pt>
                <c:pt idx="71">
                  <c:v>7</c:v>
                </c:pt>
                <c:pt idx="72">
                  <c:v>12</c:v>
                </c:pt>
                <c:pt idx="73">
                  <c:v>13</c:v>
                </c:pt>
                <c:pt idx="74">
                  <c:v>9</c:v>
                </c:pt>
                <c:pt idx="75">
                  <c:v>3</c:v>
                </c:pt>
                <c:pt idx="76">
                  <c:v>7</c:v>
                </c:pt>
                <c:pt idx="77">
                  <c:v>12</c:v>
                </c:pt>
                <c:pt idx="78">
                  <c:v>2</c:v>
                </c:pt>
                <c:pt idx="79">
                  <c:v>7</c:v>
                </c:pt>
                <c:pt idx="80">
                  <c:v>5</c:v>
                </c:pt>
                <c:pt idx="81">
                  <c:v>4</c:v>
                </c:pt>
                <c:pt idx="82">
                  <c:v>5</c:v>
                </c:pt>
                <c:pt idx="83">
                  <c:v>9</c:v>
                </c:pt>
                <c:pt idx="84">
                  <c:v>10</c:v>
                </c:pt>
                <c:pt idx="85">
                  <c:v>8</c:v>
                </c:pt>
                <c:pt idx="86">
                  <c:v>16</c:v>
                </c:pt>
                <c:pt idx="87">
                  <c:v>12</c:v>
                </c:pt>
                <c:pt idx="88">
                  <c:v>5</c:v>
                </c:pt>
                <c:pt idx="89">
                  <c:v>9</c:v>
                </c:pt>
                <c:pt idx="90">
                  <c:v>18</c:v>
                </c:pt>
                <c:pt idx="91">
                  <c:v>19</c:v>
                </c:pt>
                <c:pt idx="92">
                  <c:v>17</c:v>
                </c:pt>
                <c:pt idx="93">
                  <c:v>14</c:v>
                </c:pt>
                <c:pt idx="94">
                  <c:v>15</c:v>
                </c:pt>
                <c:pt idx="95">
                  <c:v>10</c:v>
                </c:pt>
                <c:pt idx="96">
                  <c:v>10</c:v>
                </c:pt>
                <c:pt idx="97">
                  <c:v>19</c:v>
                </c:pt>
                <c:pt idx="98">
                  <c:v>19</c:v>
                </c:pt>
                <c:pt idx="99">
                  <c:v>24</c:v>
                </c:pt>
                <c:pt idx="100">
                  <c:v>37</c:v>
                </c:pt>
                <c:pt idx="101">
                  <c:v>21</c:v>
                </c:pt>
                <c:pt idx="102">
                  <c:v>14</c:v>
                </c:pt>
                <c:pt idx="103">
                  <c:v>16</c:v>
                </c:pt>
                <c:pt idx="104">
                  <c:v>20</c:v>
                </c:pt>
                <c:pt idx="105">
                  <c:v>28</c:v>
                </c:pt>
                <c:pt idx="106">
                  <c:v>27</c:v>
                </c:pt>
                <c:pt idx="107">
                  <c:v>30</c:v>
                </c:pt>
                <c:pt idx="108">
                  <c:v>25</c:v>
                </c:pt>
                <c:pt idx="109">
                  <c:v>14</c:v>
                </c:pt>
                <c:pt idx="110">
                  <c:v>10</c:v>
                </c:pt>
                <c:pt idx="111">
                  <c:v>40</c:v>
                </c:pt>
                <c:pt idx="112">
                  <c:v>60</c:v>
                </c:pt>
                <c:pt idx="113">
                  <c:v>47</c:v>
                </c:pt>
                <c:pt idx="114">
                  <c:v>47</c:v>
                </c:pt>
                <c:pt idx="115">
                  <c:v>37</c:v>
                </c:pt>
                <c:pt idx="116">
                  <c:v>24</c:v>
                </c:pt>
                <c:pt idx="117">
                  <c:v>31</c:v>
                </c:pt>
                <c:pt idx="118">
                  <c:v>91</c:v>
                </c:pt>
                <c:pt idx="119">
                  <c:v>101</c:v>
                </c:pt>
                <c:pt idx="120">
                  <c:v>89</c:v>
                </c:pt>
                <c:pt idx="121">
                  <c:v>120</c:v>
                </c:pt>
                <c:pt idx="122">
                  <c:v>106</c:v>
                </c:pt>
                <c:pt idx="123">
                  <c:v>77</c:v>
                </c:pt>
                <c:pt idx="124">
                  <c:v>45</c:v>
                </c:pt>
                <c:pt idx="125">
                  <c:v>174</c:v>
                </c:pt>
                <c:pt idx="126">
                  <c:v>175</c:v>
                </c:pt>
                <c:pt idx="127">
                  <c:v>165</c:v>
                </c:pt>
                <c:pt idx="128">
                  <c:v>98</c:v>
                </c:pt>
                <c:pt idx="129">
                  <c:v>203</c:v>
                </c:pt>
                <c:pt idx="130">
                  <c:v>141</c:v>
                </c:pt>
                <c:pt idx="131">
                  <c:v>97</c:v>
                </c:pt>
                <c:pt idx="132">
                  <c:v>304</c:v>
                </c:pt>
                <c:pt idx="133">
                  <c:v>271</c:v>
                </c:pt>
                <c:pt idx="134">
                  <c:v>263</c:v>
                </c:pt>
                <c:pt idx="135">
                  <c:v>246</c:v>
                </c:pt>
                <c:pt idx="136">
                  <c:v>286</c:v>
                </c:pt>
                <c:pt idx="137">
                  <c:v>159</c:v>
                </c:pt>
                <c:pt idx="138">
                  <c:v>86</c:v>
                </c:pt>
                <c:pt idx="139">
                  <c:v>316</c:v>
                </c:pt>
                <c:pt idx="140">
                  <c:v>343</c:v>
                </c:pt>
                <c:pt idx="141">
                  <c:v>359</c:v>
                </c:pt>
                <c:pt idx="142">
                  <c:v>267</c:v>
                </c:pt>
                <c:pt idx="143">
                  <c:v>376</c:v>
                </c:pt>
                <c:pt idx="144">
                  <c:v>244</c:v>
                </c:pt>
                <c:pt idx="145">
                  <c:v>130</c:v>
                </c:pt>
                <c:pt idx="146">
                  <c:v>391</c:v>
                </c:pt>
                <c:pt idx="147">
                  <c:v>492</c:v>
                </c:pt>
                <c:pt idx="148">
                  <c:v>309</c:v>
                </c:pt>
                <c:pt idx="149">
                  <c:v>391</c:v>
                </c:pt>
                <c:pt idx="150">
                  <c:v>577</c:v>
                </c:pt>
                <c:pt idx="151">
                  <c:v>329</c:v>
                </c:pt>
                <c:pt idx="152">
                  <c:v>206</c:v>
                </c:pt>
                <c:pt idx="153">
                  <c:v>460</c:v>
                </c:pt>
                <c:pt idx="154">
                  <c:v>548</c:v>
                </c:pt>
                <c:pt idx="155">
                  <c:v>369</c:v>
                </c:pt>
                <c:pt idx="156">
                  <c:v>547</c:v>
                </c:pt>
                <c:pt idx="157">
                  <c:v>403</c:v>
                </c:pt>
                <c:pt idx="158">
                  <c:v>259</c:v>
                </c:pt>
                <c:pt idx="159">
                  <c:v>203</c:v>
                </c:pt>
                <c:pt idx="160">
                  <c:v>474</c:v>
                </c:pt>
                <c:pt idx="161">
                  <c:v>409</c:v>
                </c:pt>
                <c:pt idx="162">
                  <c:v>403</c:v>
                </c:pt>
                <c:pt idx="163">
                  <c:v>320</c:v>
                </c:pt>
                <c:pt idx="164">
                  <c:v>359</c:v>
                </c:pt>
                <c:pt idx="165">
                  <c:v>213</c:v>
                </c:pt>
                <c:pt idx="166">
                  <c:v>148</c:v>
                </c:pt>
                <c:pt idx="167">
                  <c:v>413</c:v>
                </c:pt>
                <c:pt idx="168">
                  <c:v>366</c:v>
                </c:pt>
                <c:pt idx="169">
                  <c:v>293</c:v>
                </c:pt>
                <c:pt idx="170">
                  <c:v>276</c:v>
                </c:pt>
                <c:pt idx="171">
                  <c:v>245</c:v>
                </c:pt>
                <c:pt idx="172">
                  <c:v>173</c:v>
                </c:pt>
                <c:pt idx="173">
                  <c:v>133</c:v>
                </c:pt>
                <c:pt idx="174">
                  <c:v>255</c:v>
                </c:pt>
                <c:pt idx="175">
                  <c:v>322</c:v>
                </c:pt>
                <c:pt idx="176">
                  <c:v>208</c:v>
                </c:pt>
                <c:pt idx="177">
                  <c:v>171</c:v>
                </c:pt>
                <c:pt idx="178">
                  <c:v>203</c:v>
                </c:pt>
                <c:pt idx="179">
                  <c:v>133</c:v>
                </c:pt>
                <c:pt idx="180">
                  <c:v>91</c:v>
                </c:pt>
                <c:pt idx="181">
                  <c:v>223</c:v>
                </c:pt>
                <c:pt idx="182">
                  <c:v>211</c:v>
                </c:pt>
                <c:pt idx="183">
                  <c:v>118</c:v>
                </c:pt>
                <c:pt idx="184">
                  <c:v>159</c:v>
                </c:pt>
                <c:pt idx="185">
                  <c:v>48</c:v>
                </c:pt>
                <c:pt idx="186">
                  <c:v>44</c:v>
                </c:pt>
                <c:pt idx="187">
                  <c:v>48</c:v>
                </c:pt>
                <c:pt idx="188">
                  <c:v>171</c:v>
                </c:pt>
                <c:pt idx="189">
                  <c:v>220</c:v>
                </c:pt>
                <c:pt idx="190">
                  <c:v>150</c:v>
                </c:pt>
                <c:pt idx="191">
                  <c:v>142</c:v>
                </c:pt>
                <c:pt idx="192">
                  <c:v>149</c:v>
                </c:pt>
                <c:pt idx="193">
                  <c:v>34</c:v>
                </c:pt>
                <c:pt idx="194">
                  <c:v>90</c:v>
                </c:pt>
                <c:pt idx="195">
                  <c:v>239</c:v>
                </c:pt>
                <c:pt idx="196">
                  <c:v>207</c:v>
                </c:pt>
                <c:pt idx="197">
                  <c:v>161</c:v>
                </c:pt>
                <c:pt idx="198">
                  <c:v>163</c:v>
                </c:pt>
                <c:pt idx="199">
                  <c:v>163</c:v>
                </c:pt>
                <c:pt idx="200">
                  <c:v>90</c:v>
                </c:pt>
                <c:pt idx="201">
                  <c:v>75</c:v>
                </c:pt>
                <c:pt idx="202">
                  <c:v>193</c:v>
                </c:pt>
                <c:pt idx="203">
                  <c:v>275</c:v>
                </c:pt>
                <c:pt idx="204">
                  <c:v>311</c:v>
                </c:pt>
                <c:pt idx="205">
                  <c:v>236</c:v>
                </c:pt>
                <c:pt idx="206">
                  <c:v>279</c:v>
                </c:pt>
                <c:pt idx="207">
                  <c:v>212</c:v>
                </c:pt>
                <c:pt idx="208">
                  <c:v>189</c:v>
                </c:pt>
                <c:pt idx="209">
                  <c:v>586</c:v>
                </c:pt>
                <c:pt idx="210">
                  <c:v>629</c:v>
                </c:pt>
                <c:pt idx="211">
                  <c:v>738</c:v>
                </c:pt>
                <c:pt idx="212">
                  <c:v>715</c:v>
                </c:pt>
                <c:pt idx="213">
                  <c:v>687</c:v>
                </c:pt>
                <c:pt idx="214">
                  <c:v>416</c:v>
                </c:pt>
                <c:pt idx="215">
                  <c:v>446</c:v>
                </c:pt>
                <c:pt idx="216">
                  <c:v>987</c:v>
                </c:pt>
                <c:pt idx="217">
                  <c:v>911</c:v>
                </c:pt>
                <c:pt idx="218">
                  <c:v>1055</c:v>
                </c:pt>
                <c:pt idx="219">
                  <c:v>1675</c:v>
                </c:pt>
                <c:pt idx="220">
                  <c:v>13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9F-460A-A36A-554DEDA2A4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5679636904293355"/>
          <c:h val="0.80623174724366597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63</c:f>
              <c:numCache>
                <c:formatCode>m/d/yyyy</c:formatCode>
                <c:ptCount val="362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  <c:pt idx="348">
                  <c:v>44576</c:v>
                </c:pt>
                <c:pt idx="349">
                  <c:v>44577</c:v>
                </c:pt>
                <c:pt idx="350">
                  <c:v>44578</c:v>
                </c:pt>
                <c:pt idx="351">
                  <c:v>44579</c:v>
                </c:pt>
                <c:pt idx="352">
                  <c:v>44580</c:v>
                </c:pt>
                <c:pt idx="353">
                  <c:v>44581</c:v>
                </c:pt>
                <c:pt idx="354">
                  <c:v>44582</c:v>
                </c:pt>
                <c:pt idx="355">
                  <c:v>44583</c:v>
                </c:pt>
                <c:pt idx="356">
                  <c:v>44584</c:v>
                </c:pt>
                <c:pt idx="357">
                  <c:v>44585</c:v>
                </c:pt>
                <c:pt idx="358">
                  <c:v>44586</c:v>
                </c:pt>
                <c:pt idx="359">
                  <c:v>44587</c:v>
                </c:pt>
                <c:pt idx="360">
                  <c:v>44588</c:v>
                </c:pt>
                <c:pt idx="361">
                  <c:v>44589</c:v>
                </c:pt>
              </c:numCache>
            </c:numRef>
          </c:cat>
          <c:val>
            <c:numRef>
              <c:f>List1!$B$2:$B$363</c:f>
              <c:numCache>
                <c:formatCode>General</c:formatCode>
                <c:ptCount val="362"/>
                <c:pt idx="0">
                  <c:v>18.539423053154</c:v>
                </c:pt>
                <c:pt idx="1">
                  <c:v>26.588010469029001</c:v>
                </c:pt>
                <c:pt idx="2">
                  <c:v>22.615906520919001</c:v>
                </c:pt>
                <c:pt idx="3">
                  <c:v>22.322368698142</c:v>
                </c:pt>
                <c:pt idx="4">
                  <c:v>19.438399290075001</c:v>
                </c:pt>
                <c:pt idx="5">
                  <c:v>11.022834225052</c:v>
                </c:pt>
                <c:pt idx="6">
                  <c:v>5.1036465554630004</c:v>
                </c:pt>
                <c:pt idx="7">
                  <c:v>23.649200657017001</c:v>
                </c:pt>
                <c:pt idx="8">
                  <c:v>30.553142827213001</c:v>
                </c:pt>
                <c:pt idx="9">
                  <c:v>27.527905304004999</c:v>
                </c:pt>
                <c:pt idx="10">
                  <c:v>22.662684077651001</c:v>
                </c:pt>
                <c:pt idx="11">
                  <c:v>26.970722815371001</c:v>
                </c:pt>
                <c:pt idx="12">
                  <c:v>10.726261151813</c:v>
                </c:pt>
                <c:pt idx="13">
                  <c:v>8.4178627046590009</c:v>
                </c:pt>
                <c:pt idx="14">
                  <c:v>32.092887353964997</c:v>
                </c:pt>
                <c:pt idx="15">
                  <c:v>32.081971906063004</c:v>
                </c:pt>
                <c:pt idx="16">
                  <c:v>33.016040716397001</c:v>
                </c:pt>
                <c:pt idx="17">
                  <c:v>28.841111693759</c:v>
                </c:pt>
                <c:pt idx="18">
                  <c:v>31.234685579807</c:v>
                </c:pt>
                <c:pt idx="19">
                  <c:v>15.680422181849</c:v>
                </c:pt>
                <c:pt idx="20">
                  <c:v>7.5961454987410004</c:v>
                </c:pt>
                <c:pt idx="21">
                  <c:v>40.587123318136001</c:v>
                </c:pt>
                <c:pt idx="22">
                  <c:v>47.118130261761003</c:v>
                </c:pt>
                <c:pt idx="23">
                  <c:v>37.638175532868999</c:v>
                </c:pt>
                <c:pt idx="24">
                  <c:v>48.964951713478001</c:v>
                </c:pt>
                <c:pt idx="25">
                  <c:v>58.226434801399002</c:v>
                </c:pt>
                <c:pt idx="26">
                  <c:v>20.455434226754001</c:v>
                </c:pt>
                <c:pt idx="27">
                  <c:v>10.234551847035</c:v>
                </c:pt>
                <c:pt idx="28">
                  <c:v>62.770048326843003</c:v>
                </c:pt>
                <c:pt idx="29">
                  <c:v>62.768071974054997</c:v>
                </c:pt>
                <c:pt idx="30">
                  <c:v>53.337964226350998</c:v>
                </c:pt>
                <c:pt idx="31">
                  <c:v>43.801192643901999</c:v>
                </c:pt>
                <c:pt idx="32">
                  <c:v>51.088307084874998</c:v>
                </c:pt>
                <c:pt idx="33">
                  <c:v>22.084526949432</c:v>
                </c:pt>
                <c:pt idx="34">
                  <c:v>10.731374752231</c:v>
                </c:pt>
                <c:pt idx="35">
                  <c:v>49.515321183034999</c:v>
                </c:pt>
                <c:pt idx="36">
                  <c:v>54.323165314977999</c:v>
                </c:pt>
                <c:pt idx="37">
                  <c:v>48.826870197620003</c:v>
                </c:pt>
                <c:pt idx="38">
                  <c:v>45.220806739192</c:v>
                </c:pt>
                <c:pt idx="39">
                  <c:v>53.318421514633002</c:v>
                </c:pt>
                <c:pt idx="40">
                  <c:v>20.809489127041001</c:v>
                </c:pt>
                <c:pt idx="41">
                  <c:v>7.8044719624340004</c:v>
                </c:pt>
                <c:pt idx="42">
                  <c:v>37.200681359847998</c:v>
                </c:pt>
                <c:pt idx="43">
                  <c:v>51.759834368530001</c:v>
                </c:pt>
                <c:pt idx="44">
                  <c:v>33.561242687267999</c:v>
                </c:pt>
                <c:pt idx="45">
                  <c:v>35.013080358322</c:v>
                </c:pt>
                <c:pt idx="46">
                  <c:v>31.230688470560001</c:v>
                </c:pt>
                <c:pt idx="47">
                  <c:v>11.960848157032</c:v>
                </c:pt>
                <c:pt idx="48">
                  <c:v>5.9809407355220001</c:v>
                </c:pt>
                <c:pt idx="49">
                  <c:v>44.762757385854002</c:v>
                </c:pt>
                <c:pt idx="50">
                  <c:v>32.899595804965003</c:v>
                </c:pt>
                <c:pt idx="51">
                  <c:v>24.982107409558001</c:v>
                </c:pt>
                <c:pt idx="52">
                  <c:v>27.917554694574999</c:v>
                </c:pt>
                <c:pt idx="53">
                  <c:v>24.061266860073001</c:v>
                </c:pt>
                <c:pt idx="54">
                  <c:v>11.010942123734999</c:v>
                </c:pt>
                <c:pt idx="55">
                  <c:v>6.2023624109269999</c:v>
                </c:pt>
                <c:pt idx="56">
                  <c:v>32.001780968679</c:v>
                </c:pt>
                <c:pt idx="57">
                  <c:v>33.712126532848004</c:v>
                </c:pt>
                <c:pt idx="58">
                  <c:v>24.145326459016001</c:v>
                </c:pt>
                <c:pt idx="59">
                  <c:v>21.550485604275</c:v>
                </c:pt>
                <c:pt idx="60">
                  <c:v>16.775464060390998</c:v>
                </c:pt>
                <c:pt idx="61">
                  <c:v>10.225172914977</c:v>
                </c:pt>
                <c:pt idx="62">
                  <c:v>14.61966930308</c:v>
                </c:pt>
                <c:pt idx="63">
                  <c:v>9.6135358584879995</c:v>
                </c:pt>
                <c:pt idx="64">
                  <c:v>26.942881092084001</c:v>
                </c:pt>
                <c:pt idx="65">
                  <c:v>31.090518908343</c:v>
                </c:pt>
                <c:pt idx="66">
                  <c:v>24.610083981911</c:v>
                </c:pt>
                <c:pt idx="67">
                  <c:v>25.048727602915001</c:v>
                </c:pt>
                <c:pt idx="68">
                  <c:v>7.8470761794149997</c:v>
                </c:pt>
                <c:pt idx="69">
                  <c:v>3.9280074789260002</c:v>
                </c:pt>
                <c:pt idx="70">
                  <c:v>11.938587903822</c:v>
                </c:pt>
                <c:pt idx="71">
                  <c:v>18.558564374010999</c:v>
                </c:pt>
                <c:pt idx="72">
                  <c:v>22.110305859231001</c:v>
                </c:pt>
                <c:pt idx="73">
                  <c:v>16.679315147320001</c:v>
                </c:pt>
                <c:pt idx="74">
                  <c:v>15.938260213069</c:v>
                </c:pt>
                <c:pt idx="75">
                  <c:v>4.2099945270069998</c:v>
                </c:pt>
                <c:pt idx="76">
                  <c:v>2.532564559291</c:v>
                </c:pt>
                <c:pt idx="77">
                  <c:v>21.148445166310999</c:v>
                </c:pt>
                <c:pt idx="78">
                  <c:v>18.949344955598001</c:v>
                </c:pt>
                <c:pt idx="79">
                  <c:v>19.201061295024001</c:v>
                </c:pt>
                <c:pt idx="80">
                  <c:v>13.296222100093001</c:v>
                </c:pt>
                <c:pt idx="81">
                  <c:v>11.724915445321001</c:v>
                </c:pt>
                <c:pt idx="82">
                  <c:v>4.5378639366869997</c:v>
                </c:pt>
                <c:pt idx="83">
                  <c:v>0.91024940833699997</c:v>
                </c:pt>
                <c:pt idx="84">
                  <c:v>11.951165698315</c:v>
                </c:pt>
                <c:pt idx="85">
                  <c:v>13.948298307606001</c:v>
                </c:pt>
                <c:pt idx="86">
                  <c:v>7.5284197846870002</c:v>
                </c:pt>
                <c:pt idx="87">
                  <c:v>16.174917460347</c:v>
                </c:pt>
                <c:pt idx="88">
                  <c:v>11.571283930379</c:v>
                </c:pt>
                <c:pt idx="89">
                  <c:v>3.8650703925940002</c:v>
                </c:pt>
                <c:pt idx="90">
                  <c:v>5.810575246949</c:v>
                </c:pt>
                <c:pt idx="91">
                  <c:v>11.702864276031001</c:v>
                </c:pt>
                <c:pt idx="92">
                  <c:v>11.781107031356999</c:v>
                </c:pt>
                <c:pt idx="93">
                  <c:v>7.8998301536510001</c:v>
                </c:pt>
                <c:pt idx="94">
                  <c:v>4.9693885664300002</c:v>
                </c:pt>
                <c:pt idx="95">
                  <c:v>16.994221964531999</c:v>
                </c:pt>
                <c:pt idx="96">
                  <c:v>8.0104135375979997</c:v>
                </c:pt>
                <c:pt idx="97">
                  <c:v>2.0058571027399998</c:v>
                </c:pt>
                <c:pt idx="98">
                  <c:v>9.0544170464490001</c:v>
                </c:pt>
                <c:pt idx="99">
                  <c:v>16.162105922401</c:v>
                </c:pt>
                <c:pt idx="100">
                  <c:v>5.0767606205830003</c:v>
                </c:pt>
                <c:pt idx="101">
                  <c:v>8.1586032471240006</c:v>
                </c:pt>
                <c:pt idx="102">
                  <c:v>6.1457149002850002</c:v>
                </c:pt>
                <c:pt idx="103">
                  <c:v>4.0999989750000001</c:v>
                </c:pt>
                <c:pt idx="104">
                  <c:v>1.025746230382</c:v>
                </c:pt>
                <c:pt idx="105">
                  <c:v>3.084579160583</c:v>
                </c:pt>
                <c:pt idx="106">
                  <c:v>7.212479650503</c:v>
                </c:pt>
                <c:pt idx="107">
                  <c:v>3.0993016240340001</c:v>
                </c:pt>
                <c:pt idx="108">
                  <c:v>4.1454213820829997</c:v>
                </c:pt>
                <c:pt idx="109">
                  <c:v>4.161811220243</c:v>
                </c:pt>
                <c:pt idx="110">
                  <c:v>1.04091850649</c:v>
                </c:pt>
                <c:pt idx="111">
                  <c:v>1.0420900157349999</c:v>
                </c:pt>
                <c:pt idx="112">
                  <c:v>1.044364608572</c:v>
                </c:pt>
                <c:pt idx="113">
                  <c:v>3.1396188502709999</c:v>
                </c:pt>
                <c:pt idx="114">
                  <c:v>7.3517055956980002</c:v>
                </c:pt>
                <c:pt idx="115">
                  <c:v>2.1078813684359998</c:v>
                </c:pt>
                <c:pt idx="116">
                  <c:v>3.1731928666620002</c:v>
                </c:pt>
                <c:pt idx="117">
                  <c:v>0</c:v>
                </c:pt>
                <c:pt idx="118">
                  <c:v>1.063682682182</c:v>
                </c:pt>
                <c:pt idx="119">
                  <c:v>4.2711770296090004</c:v>
                </c:pt>
                <c:pt idx="120">
                  <c:v>2.1520649062769999</c:v>
                </c:pt>
                <c:pt idx="121">
                  <c:v>0</c:v>
                </c:pt>
                <c:pt idx="122">
                  <c:v>4.3759845965339998</c:v>
                </c:pt>
                <c:pt idx="123">
                  <c:v>0</c:v>
                </c:pt>
                <c:pt idx="124">
                  <c:v>0</c:v>
                </c:pt>
                <c:pt idx="125">
                  <c:v>1.1073216104879999</c:v>
                </c:pt>
                <c:pt idx="126">
                  <c:v>0</c:v>
                </c:pt>
                <c:pt idx="127">
                  <c:v>1.123481895089</c:v>
                </c:pt>
                <c:pt idx="128">
                  <c:v>1.131298504423</c:v>
                </c:pt>
                <c:pt idx="129">
                  <c:v>1.141800162135</c:v>
                </c:pt>
                <c:pt idx="131">
                  <c:v>1.1577692102849999</c:v>
                </c:pt>
                <c:pt idx="132">
                  <c:v>1.160995205089</c:v>
                </c:pt>
                <c:pt idx="133">
                  <c:v>1.1682515946630001</c:v>
                </c:pt>
                <c:pt idx="135">
                  <c:v>0</c:v>
                </c:pt>
                <c:pt idx="136">
                  <c:v>2.3867772540119998</c:v>
                </c:pt>
                <c:pt idx="137">
                  <c:v>0</c:v>
                </c:pt>
                <c:pt idx="138">
                  <c:v>0</c:v>
                </c:pt>
                <c:pt idx="139">
                  <c:v>1.2097018085040001</c:v>
                </c:pt>
                <c:pt idx="141">
                  <c:v>1.2237805027290001</c:v>
                </c:pt>
                <c:pt idx="142">
                  <c:v>2.4629935223269999</c:v>
                </c:pt>
                <c:pt idx="143">
                  <c:v>2.4801587301580001</c:v>
                </c:pt>
                <c:pt idx="145">
                  <c:v>1.2547996085019999</c:v>
                </c:pt>
                <c:pt idx="146">
                  <c:v>1.2567708529699999</c:v>
                </c:pt>
                <c:pt idx="147">
                  <c:v>0</c:v>
                </c:pt>
                <c:pt idx="148">
                  <c:v>3.8168910150380002</c:v>
                </c:pt>
                <c:pt idx="150">
                  <c:v>1.290355880151</c:v>
                </c:pt>
                <c:pt idx="151">
                  <c:v>1.300288664083</c:v>
                </c:pt>
                <c:pt idx="153">
                  <c:v>1.306199221505</c:v>
                </c:pt>
                <c:pt idx="154">
                  <c:v>0</c:v>
                </c:pt>
                <c:pt idx="155">
                  <c:v>1.322523904619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1.355197181189</c:v>
                </c:pt>
                <c:pt idx="161">
                  <c:v>2.7317179774359999</c:v>
                </c:pt>
                <c:pt idx="162">
                  <c:v>4.126093414754</c:v>
                </c:pt>
                <c:pt idx="163">
                  <c:v>1.3856556922729999</c:v>
                </c:pt>
                <c:pt idx="164">
                  <c:v>4.190587939487</c:v>
                </c:pt>
                <c:pt idx="165">
                  <c:v>2.8150775553859999</c:v>
                </c:pt>
                <c:pt idx="166">
                  <c:v>1.4106162982599999</c:v>
                </c:pt>
                <c:pt idx="167">
                  <c:v>2.8250582668259998</c:v>
                </c:pt>
                <c:pt idx="168">
                  <c:v>2.8286942747219999</c:v>
                </c:pt>
                <c:pt idx="169">
                  <c:v>2.8331019633390002</c:v>
                </c:pt>
                <c:pt idx="170">
                  <c:v>5.7045879148300003</c:v>
                </c:pt>
                <c:pt idx="171">
                  <c:v>2.8694816281429998</c:v>
                </c:pt>
                <c:pt idx="172">
                  <c:v>1.4439390657710001</c:v>
                </c:pt>
                <c:pt idx="173">
                  <c:v>0</c:v>
                </c:pt>
                <c:pt idx="174">
                  <c:v>1.449674548063</c:v>
                </c:pt>
                <c:pt idx="175">
                  <c:v>4.374644560129</c:v>
                </c:pt>
                <c:pt idx="176">
                  <c:v>1.4662756598240001</c:v>
                </c:pt>
                <c:pt idx="177">
                  <c:v>0</c:v>
                </c:pt>
                <c:pt idx="178">
                  <c:v>5.9436247195350003</c:v>
                </c:pt>
                <c:pt idx="179">
                  <c:v>1.4961324974929999</c:v>
                </c:pt>
                <c:pt idx="180">
                  <c:v>1.4990031628960001</c:v>
                </c:pt>
                <c:pt idx="181">
                  <c:v>0</c:v>
                </c:pt>
                <c:pt idx="182">
                  <c:v>0</c:v>
                </c:pt>
                <c:pt idx="183">
                  <c:v>3.0481299722620001</c:v>
                </c:pt>
                <c:pt idx="184">
                  <c:v>7.6750683081069999</c:v>
                </c:pt>
                <c:pt idx="185">
                  <c:v>0</c:v>
                </c:pt>
                <c:pt idx="186">
                  <c:v>4.6682434955799996</c:v>
                </c:pt>
                <c:pt idx="187">
                  <c:v>1.5609146960110001</c:v>
                </c:pt>
                <c:pt idx="188">
                  <c:v>0</c:v>
                </c:pt>
                <c:pt idx="189">
                  <c:v>12.578220810666</c:v>
                </c:pt>
                <c:pt idx="190">
                  <c:v>1.58177791838</c:v>
                </c:pt>
                <c:pt idx="191">
                  <c:v>4.7752451292489999</c:v>
                </c:pt>
                <c:pt idx="192">
                  <c:v>3.200358440145</c:v>
                </c:pt>
                <c:pt idx="193">
                  <c:v>9.6540627514070003</c:v>
                </c:pt>
                <c:pt idx="194">
                  <c:v>4.8376173122189998</c:v>
                </c:pt>
                <c:pt idx="195">
                  <c:v>1.615561084364</c:v>
                </c:pt>
                <c:pt idx="196">
                  <c:v>4.8684701643919999</c:v>
                </c:pt>
                <c:pt idx="197">
                  <c:v>3.261844573106</c:v>
                </c:pt>
                <c:pt idx="198">
                  <c:v>4.9191617748330003</c:v>
                </c:pt>
                <c:pt idx="199">
                  <c:v>0</c:v>
                </c:pt>
                <c:pt idx="200">
                  <c:v>3.3160896670639999</c:v>
                </c:pt>
                <c:pt idx="201">
                  <c:v>0</c:v>
                </c:pt>
                <c:pt idx="202">
                  <c:v>0</c:v>
                </c:pt>
                <c:pt idx="203">
                  <c:v>3.3514310610629998</c:v>
                </c:pt>
                <c:pt idx="204">
                  <c:v>3.3689884612140002</c:v>
                </c:pt>
                <c:pt idx="205">
                  <c:v>3.3899454218780001</c:v>
                </c:pt>
                <c:pt idx="206">
                  <c:v>5.1124744376270002</c:v>
                </c:pt>
                <c:pt idx="207">
                  <c:v>1.715059941344</c:v>
                </c:pt>
                <c:pt idx="208">
                  <c:v>0</c:v>
                </c:pt>
                <c:pt idx="209">
                  <c:v>3.4405642525369999</c:v>
                </c:pt>
                <c:pt idx="210">
                  <c:v>0</c:v>
                </c:pt>
                <c:pt idx="211">
                  <c:v>1.7379214459500001</c:v>
                </c:pt>
                <c:pt idx="212">
                  <c:v>3.4944263899079999</c:v>
                </c:pt>
                <c:pt idx="213">
                  <c:v>14.050864128142999</c:v>
                </c:pt>
                <c:pt idx="214">
                  <c:v>8.8414202857539994</c:v>
                </c:pt>
                <c:pt idx="215">
                  <c:v>10.622101051588</c:v>
                </c:pt>
                <c:pt idx="216">
                  <c:v>1.7719500310089999</c:v>
                </c:pt>
                <c:pt idx="217">
                  <c:v>7.1236487328799996</c:v>
                </c:pt>
                <c:pt idx="218">
                  <c:v>8.9453439484739992</c:v>
                </c:pt>
                <c:pt idx="219">
                  <c:v>1.7965900720429999</c:v>
                </c:pt>
                <c:pt idx="220">
                  <c:v>5.4109626102480002</c:v>
                </c:pt>
                <c:pt idx="221">
                  <c:v>1.8113645008779999</c:v>
                </c:pt>
                <c:pt idx="222">
                  <c:v>1.812612155377</c:v>
                </c:pt>
                <c:pt idx="223">
                  <c:v>3.6275914606490001</c:v>
                </c:pt>
                <c:pt idx="224">
                  <c:v>3.6366281184079998</c:v>
                </c:pt>
                <c:pt idx="225">
                  <c:v>7.2932810648190003</c:v>
                </c:pt>
                <c:pt idx="226">
                  <c:v>5.4807534209030004</c:v>
                </c:pt>
                <c:pt idx="227">
                  <c:v>10.985791709389</c:v>
                </c:pt>
                <c:pt idx="228">
                  <c:v>14.681323521315001</c:v>
                </c:pt>
                <c:pt idx="229">
                  <c:v>3.6710045704000001</c:v>
                </c:pt>
                <c:pt idx="230">
                  <c:v>9.1766692361339999</c:v>
                </c:pt>
                <c:pt idx="231">
                  <c:v>16.551419744004001</c:v>
                </c:pt>
                <c:pt idx="232">
                  <c:v>14.734321760751</c:v>
                </c:pt>
                <c:pt idx="233">
                  <c:v>14.756608193606001</c:v>
                </c:pt>
                <c:pt idx="234">
                  <c:v>9.2370219841119994</c:v>
                </c:pt>
                <c:pt idx="235">
                  <c:v>11.107614269580999</c:v>
                </c:pt>
                <c:pt idx="236">
                  <c:v>9.2561738679690002</c:v>
                </c:pt>
                <c:pt idx="237">
                  <c:v>9.2554885046830009</c:v>
                </c:pt>
                <c:pt idx="238">
                  <c:v>7.413035823495</c:v>
                </c:pt>
                <c:pt idx="239">
                  <c:v>14.849187935033999</c:v>
                </c:pt>
                <c:pt idx="240">
                  <c:v>22.303589019198998</c:v>
                </c:pt>
                <c:pt idx="241">
                  <c:v>35.369236210651003</c:v>
                </c:pt>
                <c:pt idx="242">
                  <c:v>31.713459565339001</c:v>
                </c:pt>
                <c:pt idx="243">
                  <c:v>13.063601074947</c:v>
                </c:pt>
                <c:pt idx="244">
                  <c:v>11.201135048351</c:v>
                </c:pt>
                <c:pt idx="245">
                  <c:v>18.704874490291999</c:v>
                </c:pt>
                <c:pt idx="246">
                  <c:v>28.100412139378001</c:v>
                </c:pt>
                <c:pt idx="247">
                  <c:v>22.510692578975</c:v>
                </c:pt>
                <c:pt idx="248">
                  <c:v>13.156410931097</c:v>
                </c:pt>
                <c:pt idx="249">
                  <c:v>15.071873999133</c:v>
                </c:pt>
                <c:pt idx="250">
                  <c:v>7.5393459617370002</c:v>
                </c:pt>
                <c:pt idx="251">
                  <c:v>9.4275586394140003</c:v>
                </c:pt>
                <c:pt idx="252">
                  <c:v>33.992408362131997</c:v>
                </c:pt>
                <c:pt idx="253">
                  <c:v>49.107564453678002</c:v>
                </c:pt>
                <c:pt idx="254">
                  <c:v>28.390271600264001</c:v>
                </c:pt>
                <c:pt idx="255">
                  <c:v>45.492455834406996</c:v>
                </c:pt>
                <c:pt idx="256">
                  <c:v>22.782935581248999</c:v>
                </c:pt>
                <c:pt idx="257">
                  <c:v>15.193816116840001</c:v>
                </c:pt>
                <c:pt idx="258">
                  <c:v>24.695579491271001</c:v>
                </c:pt>
                <c:pt idx="259">
                  <c:v>95.118517673019994</c:v>
                </c:pt>
                <c:pt idx="260">
                  <c:v>81.923487273280998</c:v>
                </c:pt>
                <c:pt idx="261">
                  <c:v>78.212929932660003</c:v>
                </c:pt>
                <c:pt idx="262">
                  <c:v>105.06007526121699</c:v>
                </c:pt>
                <c:pt idx="263">
                  <c:v>84.207303069738003</c:v>
                </c:pt>
                <c:pt idx="264">
                  <c:v>55.519393498486998</c:v>
                </c:pt>
                <c:pt idx="265">
                  <c:v>34.466251795117003</c:v>
                </c:pt>
                <c:pt idx="266">
                  <c:v>109.30848003681901</c:v>
                </c:pt>
                <c:pt idx="267">
                  <c:v>136.32348988134001</c:v>
                </c:pt>
                <c:pt idx="268">
                  <c:v>146.08361364728401</c:v>
                </c:pt>
                <c:pt idx="269">
                  <c:v>78.925078925077997</c:v>
                </c:pt>
                <c:pt idx="270">
                  <c:v>158.18511516647999</c:v>
                </c:pt>
                <c:pt idx="271">
                  <c:v>127.373784159333</c:v>
                </c:pt>
                <c:pt idx="272">
                  <c:v>63.700415017855001</c:v>
                </c:pt>
                <c:pt idx="273">
                  <c:v>204.86258745313199</c:v>
                </c:pt>
                <c:pt idx="274">
                  <c:v>228.21777390967901</c:v>
                </c:pt>
                <c:pt idx="275">
                  <c:v>214.978792632618</c:v>
                </c:pt>
                <c:pt idx="276">
                  <c:v>178.52291690922399</c:v>
                </c:pt>
                <c:pt idx="277">
                  <c:v>200.389105058365</c:v>
                </c:pt>
                <c:pt idx="278">
                  <c:v>105.13199906549301</c:v>
                </c:pt>
                <c:pt idx="279">
                  <c:v>44.805485749907</c:v>
                </c:pt>
                <c:pt idx="280">
                  <c:v>216.62340703733301</c:v>
                </c:pt>
                <c:pt idx="281">
                  <c:v>228.95833741022599</c:v>
                </c:pt>
                <c:pt idx="282">
                  <c:v>245.36746231155701</c:v>
                </c:pt>
                <c:pt idx="283">
                  <c:v>200.37324427855799</c:v>
                </c:pt>
                <c:pt idx="284">
                  <c:v>295.46170816262202</c:v>
                </c:pt>
                <c:pt idx="285">
                  <c:v>159.71606033717799</c:v>
                </c:pt>
                <c:pt idx="286">
                  <c:v>80.906148867312993</c:v>
                </c:pt>
                <c:pt idx="287">
                  <c:v>308.75192969955998</c:v>
                </c:pt>
                <c:pt idx="288">
                  <c:v>369.12085731295798</c:v>
                </c:pt>
                <c:pt idx="289">
                  <c:v>244.766377457613</c:v>
                </c:pt>
                <c:pt idx="290">
                  <c:v>299.49684529989599</c:v>
                </c:pt>
                <c:pt idx="291">
                  <c:v>537.40800898353598</c:v>
                </c:pt>
                <c:pt idx="292">
                  <c:v>273.04302435302799</c:v>
                </c:pt>
                <c:pt idx="293">
                  <c:v>142.659084972573</c:v>
                </c:pt>
                <c:pt idx="294">
                  <c:v>338.62092596698398</c:v>
                </c:pt>
                <c:pt idx="295">
                  <c:v>438.383838383838</c:v>
                </c:pt>
                <c:pt idx="296">
                  <c:v>293.754178399951</c:v>
                </c:pt>
                <c:pt idx="297">
                  <c:v>447.19082852264398</c:v>
                </c:pt>
                <c:pt idx="298">
                  <c:v>287.97255070155001</c:v>
                </c:pt>
                <c:pt idx="299">
                  <c:v>175.869120654396</c:v>
                </c:pt>
                <c:pt idx="300">
                  <c:v>116.676560293124</c:v>
                </c:pt>
                <c:pt idx="301">
                  <c:v>361.79747564034</c:v>
                </c:pt>
                <c:pt idx="302">
                  <c:v>347.05007436787298</c:v>
                </c:pt>
                <c:pt idx="303">
                  <c:v>316.481879860996</c:v>
                </c:pt>
                <c:pt idx="304">
                  <c:v>236.88803923198401</c:v>
                </c:pt>
                <c:pt idx="305">
                  <c:v>265.60702708355097</c:v>
                </c:pt>
                <c:pt idx="306">
                  <c:v>155.00303722167499</c:v>
                </c:pt>
                <c:pt idx="307">
                  <c:v>90.175107476145001</c:v>
                </c:pt>
                <c:pt idx="308">
                  <c:v>297.24886687045398</c:v>
                </c:pt>
                <c:pt idx="309">
                  <c:v>296.62273825161998</c:v>
                </c:pt>
                <c:pt idx="310">
                  <c:v>236.52752029661801</c:v>
                </c:pt>
                <c:pt idx="311">
                  <c:v>205.85838658489499</c:v>
                </c:pt>
                <c:pt idx="312">
                  <c:v>198.73414987147001</c:v>
                </c:pt>
                <c:pt idx="313">
                  <c:v>129.82235973775801</c:v>
                </c:pt>
                <c:pt idx="314">
                  <c:v>84.474094610985006</c:v>
                </c:pt>
                <c:pt idx="315">
                  <c:v>204.46339235219901</c:v>
                </c:pt>
                <c:pt idx="316">
                  <c:v>288.37331236072799</c:v>
                </c:pt>
                <c:pt idx="317">
                  <c:v>175.573356743114</c:v>
                </c:pt>
                <c:pt idx="318">
                  <c:v>152.16001058504401</c:v>
                </c:pt>
                <c:pt idx="319">
                  <c:v>166.37827765206899</c:v>
                </c:pt>
                <c:pt idx="320">
                  <c:v>104.442123508366</c:v>
                </c:pt>
                <c:pt idx="321">
                  <c:v>68.962448834311999</c:v>
                </c:pt>
                <c:pt idx="322">
                  <c:v>176.57971791948799</c:v>
                </c:pt>
                <c:pt idx="323">
                  <c:v>177.476242895333</c:v>
                </c:pt>
                <c:pt idx="324">
                  <c:v>103.612938102531</c:v>
                </c:pt>
                <c:pt idx="325">
                  <c:v>124.510447558463</c:v>
                </c:pt>
                <c:pt idx="326">
                  <c:v>36.491356110021002</c:v>
                </c:pt>
                <c:pt idx="327">
                  <c:v>43.426586213200999</c:v>
                </c:pt>
                <c:pt idx="328">
                  <c:v>34.335156911666999</c:v>
                </c:pt>
                <c:pt idx="329">
                  <c:v>96.585029320455007</c:v>
                </c:pt>
                <c:pt idx="330">
                  <c:v>187.183694220414</c:v>
                </c:pt>
                <c:pt idx="331">
                  <c:v>169.59390391227501</c:v>
                </c:pt>
                <c:pt idx="332">
                  <c:v>102.832569879405</c:v>
                </c:pt>
                <c:pt idx="333">
                  <c:v>141.28284826222</c:v>
                </c:pt>
                <c:pt idx="334">
                  <c:v>16.544552115338998</c:v>
                </c:pt>
                <c:pt idx="335">
                  <c:v>52.124055251498</c:v>
                </c:pt>
                <c:pt idx="336">
                  <c:v>116.841929561008</c:v>
                </c:pt>
                <c:pt idx="337">
                  <c:v>122.390208783297</c:v>
                </c:pt>
                <c:pt idx="338">
                  <c:v>113.51011930638001</c:v>
                </c:pt>
                <c:pt idx="339">
                  <c:v>130.90909090909</c:v>
                </c:pt>
                <c:pt idx="340">
                  <c:v>92.297976731193998</c:v>
                </c:pt>
                <c:pt idx="341">
                  <c:v>51.106081623713003</c:v>
                </c:pt>
                <c:pt idx="342">
                  <c:v>34.138015118262999</c:v>
                </c:pt>
                <c:pt idx="343">
                  <c:v>105.38440800921499</c:v>
                </c:pt>
                <c:pt idx="344">
                  <c:v>170.01355180485399</c:v>
                </c:pt>
                <c:pt idx="345">
                  <c:v>138.692820169898</c:v>
                </c:pt>
                <c:pt idx="346">
                  <c:v>139.22728854855501</c:v>
                </c:pt>
                <c:pt idx="347">
                  <c:v>186.962482861772</c:v>
                </c:pt>
                <c:pt idx="348">
                  <c:v>124.890720619457</c:v>
                </c:pt>
                <c:pt idx="349">
                  <c:v>107.639931911484</c:v>
                </c:pt>
                <c:pt idx="350">
                  <c:v>271.83488547696902</c:v>
                </c:pt>
                <c:pt idx="351">
                  <c:v>346.58975915806502</c:v>
                </c:pt>
                <c:pt idx="352">
                  <c:v>401.64726218923101</c:v>
                </c:pt>
                <c:pt idx="353">
                  <c:v>421.574388717136</c:v>
                </c:pt>
                <c:pt idx="354">
                  <c:v>372.98075933737999</c:v>
                </c:pt>
                <c:pt idx="355">
                  <c:v>242.49929056058599</c:v>
                </c:pt>
                <c:pt idx="356">
                  <c:v>217.16649431230601</c:v>
                </c:pt>
                <c:pt idx="357">
                  <c:v>464.77812686625202</c:v>
                </c:pt>
                <c:pt idx="358">
                  <c:v>453.60932245366098</c:v>
                </c:pt>
                <c:pt idx="359">
                  <c:v>586.43348954106295</c:v>
                </c:pt>
                <c:pt idx="360">
                  <c:v>1158.8490342924699</c:v>
                </c:pt>
                <c:pt idx="361">
                  <c:v>825.83572992796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A0B-4754-90A8-6FC4E50C7F8C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 - bez posilující dávky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63</c:f>
              <c:numCache>
                <c:formatCode>m/d/yyyy</c:formatCode>
                <c:ptCount val="362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  <c:pt idx="348">
                  <c:v>44576</c:v>
                </c:pt>
                <c:pt idx="349">
                  <c:v>44577</c:v>
                </c:pt>
                <c:pt idx="350">
                  <c:v>44578</c:v>
                </c:pt>
                <c:pt idx="351">
                  <c:v>44579</c:v>
                </c:pt>
                <c:pt idx="352">
                  <c:v>44580</c:v>
                </c:pt>
                <c:pt idx="353">
                  <c:v>44581</c:v>
                </c:pt>
                <c:pt idx="354">
                  <c:v>44582</c:v>
                </c:pt>
                <c:pt idx="355">
                  <c:v>44583</c:v>
                </c:pt>
                <c:pt idx="356">
                  <c:v>44584</c:v>
                </c:pt>
                <c:pt idx="357">
                  <c:v>44585</c:v>
                </c:pt>
                <c:pt idx="358">
                  <c:v>44586</c:v>
                </c:pt>
                <c:pt idx="359">
                  <c:v>44587</c:v>
                </c:pt>
                <c:pt idx="360">
                  <c:v>44588</c:v>
                </c:pt>
                <c:pt idx="361">
                  <c:v>44589</c:v>
                </c:pt>
              </c:numCache>
            </c:numRef>
          </c:cat>
          <c:val>
            <c:numRef>
              <c:f>List1!$C$2:$C$363</c:f>
              <c:numCache>
                <c:formatCode>General</c:formatCode>
                <c:ptCount val="36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.81749772122499997</c:v>
                </c:pt>
                <c:pt idx="9">
                  <c:v>0.81752779594500002</c:v>
                </c:pt>
                <c:pt idx="10">
                  <c:v>1.22633179633</c:v>
                </c:pt>
                <c:pt idx="11">
                  <c:v>2.4527538293609998</c:v>
                </c:pt>
                <c:pt idx="12">
                  <c:v>0.40880567422199998</c:v>
                </c:pt>
                <c:pt idx="13">
                  <c:v>0</c:v>
                </c:pt>
                <c:pt idx="14">
                  <c:v>1.226502260852</c:v>
                </c:pt>
                <c:pt idx="15">
                  <c:v>2.4530847540780001</c:v>
                </c:pt>
                <c:pt idx="16">
                  <c:v>0.81772500725700004</c:v>
                </c:pt>
                <c:pt idx="17">
                  <c:v>4.0887587754980004</c:v>
                </c:pt>
                <c:pt idx="18">
                  <c:v>2.862224766422</c:v>
                </c:pt>
                <c:pt idx="19">
                  <c:v>1.63561720015</c:v>
                </c:pt>
                <c:pt idx="20">
                  <c:v>0.408917676693</c:v>
                </c:pt>
                <c:pt idx="21">
                  <c:v>3.6803945382940002</c:v>
                </c:pt>
                <c:pt idx="22">
                  <c:v>5.7252454698989999</c:v>
                </c:pt>
                <c:pt idx="23">
                  <c:v>5.7254561961699997</c:v>
                </c:pt>
                <c:pt idx="24">
                  <c:v>4.9076944469430002</c:v>
                </c:pt>
                <c:pt idx="25">
                  <c:v>8.5887462884340007</c:v>
                </c:pt>
                <c:pt idx="26">
                  <c:v>3.681026761064</c:v>
                </c:pt>
                <c:pt idx="27">
                  <c:v>4.4991799222050002</c:v>
                </c:pt>
                <c:pt idx="28">
                  <c:v>8.1797918242980003</c:v>
                </c:pt>
                <c:pt idx="29">
                  <c:v>5.3165385244559999</c:v>
                </c:pt>
                <c:pt idx="30">
                  <c:v>7.7698171230410003</c:v>
                </c:pt>
                <c:pt idx="31">
                  <c:v>4.4978737324170002</c:v>
                </c:pt>
                <c:pt idx="32">
                  <c:v>6.541693071938</c:v>
                </c:pt>
                <c:pt idx="33">
                  <c:v>3.679341316141</c:v>
                </c:pt>
                <c:pt idx="34">
                  <c:v>1.635102377847</c:v>
                </c:pt>
                <c:pt idx="35">
                  <c:v>5.7222969299870003</c:v>
                </c:pt>
                <c:pt idx="36">
                  <c:v>6.9477934625350004</c:v>
                </c:pt>
                <c:pt idx="37">
                  <c:v>2.4519218981140001</c:v>
                </c:pt>
                <c:pt idx="38">
                  <c:v>6.1292036121429998</c:v>
                </c:pt>
                <c:pt idx="39">
                  <c:v>6.5371761033520004</c:v>
                </c:pt>
                <c:pt idx="40">
                  <c:v>2.859734126432</c:v>
                </c:pt>
                <c:pt idx="41">
                  <c:v>3.267933808</c:v>
                </c:pt>
                <c:pt idx="42">
                  <c:v>8.1690336441649993</c:v>
                </c:pt>
                <c:pt idx="43">
                  <c:v>4.4925281089310003</c:v>
                </c:pt>
                <c:pt idx="44">
                  <c:v>3.26697294538</c:v>
                </c:pt>
                <c:pt idx="45">
                  <c:v>5.3082890975900003</c:v>
                </c:pt>
                <c:pt idx="46">
                  <c:v>6.1243487775789998</c:v>
                </c:pt>
                <c:pt idx="47">
                  <c:v>1.224749742802</c:v>
                </c:pt>
                <c:pt idx="48">
                  <c:v>1.6328396714719999</c:v>
                </c:pt>
                <c:pt idx="49">
                  <c:v>5.714379010269</c:v>
                </c:pt>
                <c:pt idx="50">
                  <c:v>5.7137959603460002</c:v>
                </c:pt>
                <c:pt idx="51">
                  <c:v>6.5294129649650001</c:v>
                </c:pt>
                <c:pt idx="52">
                  <c:v>4.0804834556790004</c:v>
                </c:pt>
                <c:pt idx="53">
                  <c:v>3.2640671092189999</c:v>
                </c:pt>
                <c:pt idx="54">
                  <c:v>3.2637342014859998</c:v>
                </c:pt>
                <c:pt idx="55">
                  <c:v>1.6317073369720001</c:v>
                </c:pt>
                <c:pt idx="56">
                  <c:v>4.0788690112000001</c:v>
                </c:pt>
                <c:pt idx="57">
                  <c:v>2.4470818548879998</c:v>
                </c:pt>
                <c:pt idx="58">
                  <c:v>4.8936647431839999</c:v>
                </c:pt>
                <c:pt idx="59">
                  <c:v>2.038652858191</c:v>
                </c:pt>
                <c:pt idx="60">
                  <c:v>1.2229623409120001</c:v>
                </c:pt>
                <c:pt idx="61">
                  <c:v>3.6681991587590002</c:v>
                </c:pt>
                <c:pt idx="62">
                  <c:v>0.40750294420799998</c:v>
                </c:pt>
                <c:pt idx="63">
                  <c:v>1.222279714638</c:v>
                </c:pt>
                <c:pt idx="64">
                  <c:v>3.6661520475449998</c:v>
                </c:pt>
                <c:pt idx="65">
                  <c:v>2.850928995576</c:v>
                </c:pt>
                <c:pt idx="66">
                  <c:v>4.0719928332919997</c:v>
                </c:pt>
                <c:pt idx="67">
                  <c:v>2.035615122177</c:v>
                </c:pt>
                <c:pt idx="68">
                  <c:v>2.0352339704969999</c:v>
                </c:pt>
                <c:pt idx="69">
                  <c:v>0.81394449712399997</c:v>
                </c:pt>
                <c:pt idx="70">
                  <c:v>3.6620646720619998</c:v>
                </c:pt>
                <c:pt idx="71">
                  <c:v>2.0340996464729999</c:v>
                </c:pt>
                <c:pt idx="72">
                  <c:v>2.0337273341080002</c:v>
                </c:pt>
                <c:pt idx="73">
                  <c:v>2.4400162667749998</c:v>
                </c:pt>
                <c:pt idx="74">
                  <c:v>2.0329665861609998</c:v>
                </c:pt>
                <c:pt idx="75">
                  <c:v>2.4391037106889999</c:v>
                </c:pt>
                <c:pt idx="76">
                  <c:v>1.6257717335190001</c:v>
                </c:pt>
                <c:pt idx="77">
                  <c:v>2.8445687024290001</c:v>
                </c:pt>
                <c:pt idx="78">
                  <c:v>2.8440370699909998</c:v>
                </c:pt>
                <c:pt idx="79">
                  <c:v>4.8746008920510002</c:v>
                </c:pt>
                <c:pt idx="80">
                  <c:v>1.624563398586</c:v>
                </c:pt>
                <c:pt idx="81">
                  <c:v>2.0303249332019999</c:v>
                </c:pt>
                <c:pt idx="82">
                  <c:v>0.40598915196899998</c:v>
                </c:pt>
                <c:pt idx="83">
                  <c:v>0.40591499328199998</c:v>
                </c:pt>
                <c:pt idx="84">
                  <c:v>2.8408745023390001</c:v>
                </c:pt>
                <c:pt idx="85">
                  <c:v>2.840344249723</c:v>
                </c:pt>
                <c:pt idx="86">
                  <c:v>1.2170681639300001</c:v>
                </c:pt>
                <c:pt idx="87">
                  <c:v>4.0561369351819998</c:v>
                </c:pt>
                <c:pt idx="88">
                  <c:v>2.4332281638039999</c:v>
                </c:pt>
                <c:pt idx="89">
                  <c:v>0.81097081315999997</c:v>
                </c:pt>
                <c:pt idx="90">
                  <c:v>1.6220271284029999</c:v>
                </c:pt>
                <c:pt idx="91">
                  <c:v>2.8387086308899998</c:v>
                </c:pt>
                <c:pt idx="92">
                  <c:v>4.4610630307649997</c:v>
                </c:pt>
                <c:pt idx="93">
                  <c:v>3.2445936957539998</c:v>
                </c:pt>
                <c:pt idx="94">
                  <c:v>1.216786790562</c:v>
                </c:pt>
                <c:pt idx="95">
                  <c:v>1.622474517009</c:v>
                </c:pt>
                <c:pt idx="96">
                  <c:v>0</c:v>
                </c:pt>
                <c:pt idx="97">
                  <c:v>0</c:v>
                </c:pt>
                <c:pt idx="98">
                  <c:v>1.622737802082</c:v>
                </c:pt>
                <c:pt idx="99">
                  <c:v>1.217117541098</c:v>
                </c:pt>
                <c:pt idx="100">
                  <c:v>2.4343733517259998</c:v>
                </c:pt>
                <c:pt idx="101">
                  <c:v>2.4345017589269999</c:v>
                </c:pt>
                <c:pt idx="102">
                  <c:v>0.81154668625100002</c:v>
                </c:pt>
                <c:pt idx="103">
                  <c:v>0.811589498031</c:v>
                </c:pt>
                <c:pt idx="104">
                  <c:v>0.405817804038</c:v>
                </c:pt>
                <c:pt idx="105">
                  <c:v>3.2467137169589999</c:v>
                </c:pt>
                <c:pt idx="106">
                  <c:v>1.217586824087</c:v>
                </c:pt>
                <c:pt idx="107">
                  <c:v>1.217651069909</c:v>
                </c:pt>
                <c:pt idx="108">
                  <c:v>1.6236270204000001</c:v>
                </c:pt>
                <c:pt idx="109">
                  <c:v>0.405928175068</c:v>
                </c:pt>
                <c:pt idx="110">
                  <c:v>0.40594959729699998</c:v>
                </c:pt>
                <c:pt idx="111">
                  <c:v>0</c:v>
                </c:pt>
                <c:pt idx="112">
                  <c:v>1.2179822905369999</c:v>
                </c:pt>
                <c:pt idx="113">
                  <c:v>0.812034349052</c:v>
                </c:pt>
                <c:pt idx="114">
                  <c:v>0.40603860614999998</c:v>
                </c:pt>
                <c:pt idx="115">
                  <c:v>1.218185066675</c:v>
                </c:pt>
                <c:pt idx="116">
                  <c:v>1.624332500862</c:v>
                </c:pt>
                <c:pt idx="117">
                  <c:v>0.40610621301799998</c:v>
                </c:pt>
                <c:pt idx="118">
                  <c:v>0</c:v>
                </c:pt>
                <c:pt idx="119">
                  <c:v>0.81229819466700004</c:v>
                </c:pt>
                <c:pt idx="120">
                  <c:v>0</c:v>
                </c:pt>
                <c:pt idx="121">
                  <c:v>0</c:v>
                </c:pt>
                <c:pt idx="122">
                  <c:v>1.2185215272130001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.40620684052299999</c:v>
                </c:pt>
                <c:pt idx="127">
                  <c:v>0.40621344078999999</c:v>
                </c:pt>
                <c:pt idx="128">
                  <c:v>0</c:v>
                </c:pt>
                <c:pt idx="129">
                  <c:v>0</c:v>
                </c:pt>
                <c:pt idx="131">
                  <c:v>0.40624644534299997</c:v>
                </c:pt>
                <c:pt idx="132">
                  <c:v>0.40625469731899999</c:v>
                </c:pt>
                <c:pt idx="133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.406302565394</c:v>
                </c:pt>
                <c:pt idx="139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.40637521436200003</c:v>
                </c:pt>
                <c:pt idx="148">
                  <c:v>0</c:v>
                </c:pt>
                <c:pt idx="150">
                  <c:v>0.40637356296100002</c:v>
                </c:pt>
                <c:pt idx="151">
                  <c:v>0.812694284727</c:v>
                </c:pt>
                <c:pt idx="153">
                  <c:v>0.40629596222999997</c:v>
                </c:pt>
                <c:pt idx="154">
                  <c:v>0.81253910344400004</c:v>
                </c:pt>
                <c:pt idx="155">
                  <c:v>0</c:v>
                </c:pt>
                <c:pt idx="156">
                  <c:v>0.406218391131</c:v>
                </c:pt>
                <c:pt idx="157">
                  <c:v>1.2185759721180001</c:v>
                </c:pt>
                <c:pt idx="158">
                  <c:v>0.81233118742499999</c:v>
                </c:pt>
                <c:pt idx="159">
                  <c:v>0</c:v>
                </c:pt>
                <c:pt idx="161">
                  <c:v>2.0304403619050002</c:v>
                </c:pt>
                <c:pt idx="162">
                  <c:v>0.406063337759</c:v>
                </c:pt>
                <c:pt idx="163">
                  <c:v>1.6241478299350001</c:v>
                </c:pt>
                <c:pt idx="164">
                  <c:v>0.40601058063500001</c:v>
                </c:pt>
                <c:pt idx="165">
                  <c:v>2.0299292772630002</c:v>
                </c:pt>
                <c:pt idx="166">
                  <c:v>0</c:v>
                </c:pt>
                <c:pt idx="167">
                  <c:v>0.40593311845899999</c:v>
                </c:pt>
                <c:pt idx="168">
                  <c:v>2.0295420135489999</c:v>
                </c:pt>
                <c:pt idx="169">
                  <c:v>2.029410212803</c:v>
                </c:pt>
                <c:pt idx="170">
                  <c:v>0.81171137166999996</c:v>
                </c:pt>
                <c:pt idx="171">
                  <c:v>2.029154897568</c:v>
                </c:pt>
                <c:pt idx="172">
                  <c:v>1.217413888257</c:v>
                </c:pt>
                <c:pt idx="173">
                  <c:v>0.40577828274599997</c:v>
                </c:pt>
                <c:pt idx="174">
                  <c:v>0</c:v>
                </c:pt>
                <c:pt idx="175">
                  <c:v>2.0286362290079998</c:v>
                </c:pt>
                <c:pt idx="176">
                  <c:v>1.2171027275270001</c:v>
                </c:pt>
                <c:pt idx="177">
                  <c:v>0.81135244338699997</c:v>
                </c:pt>
                <c:pt idx="178">
                  <c:v>0.40564989169100002</c:v>
                </c:pt>
                <c:pt idx="179">
                  <c:v>0.81124713021299999</c:v>
                </c:pt>
                <c:pt idx="180">
                  <c:v>0.40559724193800001</c:v>
                </c:pt>
                <c:pt idx="181">
                  <c:v>0.40561533874900002</c:v>
                </c:pt>
                <c:pt idx="182">
                  <c:v>0.81126687435</c:v>
                </c:pt>
                <c:pt idx="183">
                  <c:v>1.6225995667649999</c:v>
                </c:pt>
                <c:pt idx="184">
                  <c:v>1.622671972804</c:v>
                </c:pt>
                <c:pt idx="185">
                  <c:v>1.2170533515619999</c:v>
                </c:pt>
                <c:pt idx="186">
                  <c:v>0.405702555114</c:v>
                </c:pt>
                <c:pt idx="187">
                  <c:v>0</c:v>
                </c:pt>
                <c:pt idx="188">
                  <c:v>0.81147424583600003</c:v>
                </c:pt>
                <c:pt idx="189">
                  <c:v>1.2172607575409999</c:v>
                </c:pt>
                <c:pt idx="190">
                  <c:v>0.81154339322500002</c:v>
                </c:pt>
                <c:pt idx="191">
                  <c:v>1.623159235978</c:v>
                </c:pt>
                <c:pt idx="192">
                  <c:v>0.81161255239899999</c:v>
                </c:pt>
                <c:pt idx="193">
                  <c:v>1.217473175007</c:v>
                </c:pt>
                <c:pt idx="194">
                  <c:v>0.40584086168099998</c:v>
                </c:pt>
                <c:pt idx="195">
                  <c:v>0.40585898023799999</c:v>
                </c:pt>
                <c:pt idx="196">
                  <c:v>1.2176263591750001</c:v>
                </c:pt>
                <c:pt idx="197">
                  <c:v>0.405893574704</c:v>
                </c:pt>
                <c:pt idx="198">
                  <c:v>0</c:v>
                </c:pt>
                <c:pt idx="199">
                  <c:v>1.217784525206</c:v>
                </c:pt>
                <c:pt idx="200">
                  <c:v>0.40594465350499997</c:v>
                </c:pt>
                <c:pt idx="201">
                  <c:v>0.40596278133199998</c:v>
                </c:pt>
                <c:pt idx="202">
                  <c:v>0.81196182155499996</c:v>
                </c:pt>
                <c:pt idx="203">
                  <c:v>1.623996167369</c:v>
                </c:pt>
                <c:pt idx="204">
                  <c:v>1.2180465781009999</c:v>
                </c:pt>
                <c:pt idx="205">
                  <c:v>1.6241280462550001</c:v>
                </c:pt>
                <c:pt idx="206">
                  <c:v>0.40605014719299998</c:v>
                </c:pt>
                <c:pt idx="207">
                  <c:v>1.2181999066039999</c:v>
                </c:pt>
                <c:pt idx="208">
                  <c:v>0.40608477425700001</c:v>
                </c:pt>
                <c:pt idx="209">
                  <c:v>0</c:v>
                </c:pt>
                <c:pt idx="210">
                  <c:v>0.406119407228</c:v>
                </c:pt>
                <c:pt idx="211">
                  <c:v>2.4368154071710002</c:v>
                </c:pt>
                <c:pt idx="212">
                  <c:v>2.0304980811790001</c:v>
                </c:pt>
                <c:pt idx="213">
                  <c:v>1.6242533510370001</c:v>
                </c:pt>
                <c:pt idx="214">
                  <c:v>3.248216526113</c:v>
                </c:pt>
                <c:pt idx="215">
                  <c:v>1.2179724007449999</c:v>
                </c:pt>
                <c:pt idx="216">
                  <c:v>0.81190908242000004</c:v>
                </c:pt>
                <c:pt idx="217">
                  <c:v>1.2177548659449999</c:v>
                </c:pt>
                <c:pt idx="218">
                  <c:v>2.8411627661560002</c:v>
                </c:pt>
                <c:pt idx="219">
                  <c:v>0.40584415584400002</c:v>
                </c:pt>
                <c:pt idx="220">
                  <c:v>1.6232448664879999</c:v>
                </c:pt>
                <c:pt idx="221">
                  <c:v>1.62308678645</c:v>
                </c:pt>
                <c:pt idx="222">
                  <c:v>1.2172064300950001</c:v>
                </c:pt>
                <c:pt idx="223">
                  <c:v>1.2170977897499999</c:v>
                </c:pt>
                <c:pt idx="224">
                  <c:v>2.8396298745280002</c:v>
                </c:pt>
                <c:pt idx="225">
                  <c:v>2.4337512625079998</c:v>
                </c:pt>
                <c:pt idx="226">
                  <c:v>2.0279697589140002</c:v>
                </c:pt>
                <c:pt idx="227">
                  <c:v>4.0555282933930004</c:v>
                </c:pt>
                <c:pt idx="228">
                  <c:v>1.2165746125200001</c:v>
                </c:pt>
                <c:pt idx="229">
                  <c:v>1.216441422263</c:v>
                </c:pt>
                <c:pt idx="230">
                  <c:v>1.621770649194</c:v>
                </c:pt>
                <c:pt idx="231">
                  <c:v>3.2466083088820001</c:v>
                </c:pt>
                <c:pt idx="232">
                  <c:v>4.0625799820430002</c:v>
                </c:pt>
                <c:pt idx="233">
                  <c:v>3.25322272376</c:v>
                </c:pt>
                <c:pt idx="234">
                  <c:v>3.2579126553609998</c:v>
                </c:pt>
                <c:pt idx="235">
                  <c:v>2.8537183950679998</c:v>
                </c:pt>
                <c:pt idx="236">
                  <c:v>1.630855791576</c:v>
                </c:pt>
                <c:pt idx="237">
                  <c:v>1.6310419911759999</c:v>
                </c:pt>
                <c:pt idx="238">
                  <c:v>5.3110215954299997</c:v>
                </c:pt>
                <c:pt idx="239">
                  <c:v>4.0856015231120004</c:v>
                </c:pt>
                <c:pt idx="240">
                  <c:v>4.0978904060180001</c:v>
                </c:pt>
                <c:pt idx="241">
                  <c:v>7.3983649613429998</c:v>
                </c:pt>
                <c:pt idx="242">
                  <c:v>1.6536305458630001</c:v>
                </c:pt>
                <c:pt idx="243">
                  <c:v>2.8945953769170001</c:v>
                </c:pt>
                <c:pt idx="244">
                  <c:v>4.1358887611349999</c:v>
                </c:pt>
                <c:pt idx="245">
                  <c:v>4.1530481296739996</c:v>
                </c:pt>
                <c:pt idx="246">
                  <c:v>4.5896057945850002</c:v>
                </c:pt>
                <c:pt idx="247">
                  <c:v>5.4563616980190002</c:v>
                </c:pt>
                <c:pt idx="248">
                  <c:v>8.4388185654000001</c:v>
                </c:pt>
                <c:pt idx="249">
                  <c:v>6.8222713046739996</c:v>
                </c:pt>
                <c:pt idx="250">
                  <c:v>2.5609506248709999</c:v>
                </c:pt>
                <c:pt idx="251">
                  <c:v>2.1350276913089998</c:v>
                </c:pt>
                <c:pt idx="252">
                  <c:v>9.4424653418600002</c:v>
                </c:pt>
                <c:pt idx="253">
                  <c:v>14.246305673915</c:v>
                </c:pt>
                <c:pt idx="254">
                  <c:v>13.900231091341</c:v>
                </c:pt>
                <c:pt idx="255">
                  <c:v>10.062342775894001</c:v>
                </c:pt>
                <c:pt idx="256">
                  <c:v>11.044158965206</c:v>
                </c:pt>
                <c:pt idx="257">
                  <c:v>6.1938406678720002</c:v>
                </c:pt>
                <c:pt idx="258">
                  <c:v>7.0838461742799996</c:v>
                </c:pt>
                <c:pt idx="259">
                  <c:v>17.819118131842998</c:v>
                </c:pt>
                <c:pt idx="260">
                  <c:v>25.113008538422001</c:v>
                </c:pt>
                <c:pt idx="261">
                  <c:v>19.897797675574999</c:v>
                </c:pt>
                <c:pt idx="262">
                  <c:v>28.781448300752</c:v>
                </c:pt>
                <c:pt idx="263">
                  <c:v>25.478769236470001</c:v>
                </c:pt>
                <c:pt idx="264">
                  <c:v>20.426543364623001</c:v>
                </c:pt>
                <c:pt idx="265">
                  <c:v>12.085771792738001</c:v>
                </c:pt>
                <c:pt idx="266">
                  <c:v>50.181262222889004</c:v>
                </c:pt>
                <c:pt idx="267">
                  <c:v>45.453469378092002</c:v>
                </c:pt>
                <c:pt idx="268">
                  <c:v>38.437884378843002</c:v>
                </c:pt>
                <c:pt idx="269">
                  <c:v>24.066925305889999</c:v>
                </c:pt>
                <c:pt idx="270">
                  <c:v>50.571359105275</c:v>
                </c:pt>
                <c:pt idx="271">
                  <c:v>33.121292120054001</c:v>
                </c:pt>
                <c:pt idx="272">
                  <c:v>28.294891308589001</c:v>
                </c:pt>
                <c:pt idx="273">
                  <c:v>85.581907787953</c:v>
                </c:pt>
                <c:pt idx="274">
                  <c:v>70.017231190938006</c:v>
                </c:pt>
                <c:pt idx="275">
                  <c:v>66.800602712203997</c:v>
                </c:pt>
                <c:pt idx="276">
                  <c:v>70.850047658125007</c:v>
                </c:pt>
                <c:pt idx="277">
                  <c:v>85.739228035167997</c:v>
                </c:pt>
                <c:pt idx="278">
                  <c:v>47.941636268890001</c:v>
                </c:pt>
                <c:pt idx="279">
                  <c:v>29.228472707912999</c:v>
                </c:pt>
                <c:pt idx="280">
                  <c:v>94.785731587870998</c:v>
                </c:pt>
                <c:pt idx="281">
                  <c:v>102.092904543134</c:v>
                </c:pt>
                <c:pt idx="282">
                  <c:v>107.04046559913</c:v>
                </c:pt>
                <c:pt idx="283">
                  <c:v>75.068949197904004</c:v>
                </c:pt>
                <c:pt idx="284">
                  <c:v>103.089926562283</c:v>
                </c:pt>
                <c:pt idx="285">
                  <c:v>78.873552364817002</c:v>
                </c:pt>
                <c:pt idx="286">
                  <c:v>43.385395808303002</c:v>
                </c:pt>
                <c:pt idx="287">
                  <c:v>106.587081645704</c:v>
                </c:pt>
                <c:pt idx="288">
                  <c:v>139.87763549935099</c:v>
                </c:pt>
                <c:pt idx="289">
                  <c:v>91.165493860572994</c:v>
                </c:pt>
                <c:pt idx="290">
                  <c:v>120.360505629301</c:v>
                </c:pt>
                <c:pt idx="291">
                  <c:v>141.67705826908099</c:v>
                </c:pt>
                <c:pt idx="292">
                  <c:v>94.540159015373007</c:v>
                </c:pt>
                <c:pt idx="293">
                  <c:v>65.854461639776005</c:v>
                </c:pt>
                <c:pt idx="294">
                  <c:v>141.197688629433</c:v>
                </c:pt>
                <c:pt idx="295">
                  <c:v>162.54798464491299</c:v>
                </c:pt>
                <c:pt idx="296">
                  <c:v>113.37043638524101</c:v>
                </c:pt>
                <c:pt idx="297">
                  <c:v>160.733238038563</c:v>
                </c:pt>
                <c:pt idx="298">
                  <c:v>129.679747406405</c:v>
                </c:pt>
                <c:pt idx="299">
                  <c:v>88.002162338846006</c:v>
                </c:pt>
                <c:pt idx="300">
                  <c:v>71.860363966438996</c:v>
                </c:pt>
                <c:pt idx="301">
                  <c:v>149.033194915038</c:v>
                </c:pt>
                <c:pt idx="302">
                  <c:v>118.50477883401599</c:v>
                </c:pt>
                <c:pt idx="303">
                  <c:v>123.074117968821</c:v>
                </c:pt>
                <c:pt idx="304">
                  <c:v>98.342045514546001</c:v>
                </c:pt>
                <c:pt idx="305">
                  <c:v>121.726898939623</c:v>
                </c:pt>
                <c:pt idx="306">
                  <c:v>71.276805169943998</c:v>
                </c:pt>
                <c:pt idx="307">
                  <c:v>51.716863780502003</c:v>
                </c:pt>
                <c:pt idx="308">
                  <c:v>139.601413894122</c:v>
                </c:pt>
                <c:pt idx="309">
                  <c:v>120.389700765483</c:v>
                </c:pt>
                <c:pt idx="310">
                  <c:v>98.018475424863993</c:v>
                </c:pt>
                <c:pt idx="311">
                  <c:v>90.064331665474995</c:v>
                </c:pt>
                <c:pt idx="312">
                  <c:v>84.751954409293006</c:v>
                </c:pt>
                <c:pt idx="313">
                  <c:v>65.332129460385005</c:v>
                </c:pt>
                <c:pt idx="314">
                  <c:v>55.951881382011003</c:v>
                </c:pt>
                <c:pt idx="315">
                  <c:v>79.547988997100006</c:v>
                </c:pt>
                <c:pt idx="316">
                  <c:v>103.66742288796399</c:v>
                </c:pt>
                <c:pt idx="317">
                  <c:v>60.024465668285004</c:v>
                </c:pt>
                <c:pt idx="318">
                  <c:v>56.213518966286998</c:v>
                </c:pt>
                <c:pt idx="319">
                  <c:v>61.950094885588001</c:v>
                </c:pt>
                <c:pt idx="320">
                  <c:v>45.647725484022999</c:v>
                </c:pt>
                <c:pt idx="321">
                  <c:v>31.566652987783002</c:v>
                </c:pt>
                <c:pt idx="322">
                  <c:v>79.718116739210004</c:v>
                </c:pt>
                <c:pt idx="323">
                  <c:v>74.887065473841005</c:v>
                </c:pt>
                <c:pt idx="324">
                  <c:v>39.806976781971002</c:v>
                </c:pt>
                <c:pt idx="325">
                  <c:v>61.969488180950002</c:v>
                </c:pt>
                <c:pt idx="326">
                  <c:v>20.388523707775001</c:v>
                </c:pt>
                <c:pt idx="327">
                  <c:v>13.866231647634001</c:v>
                </c:pt>
                <c:pt idx="328">
                  <c:v>18.765706080087998</c:v>
                </c:pt>
                <c:pt idx="329">
                  <c:v>69.888096823791003</c:v>
                </c:pt>
                <c:pt idx="330">
                  <c:v>77.115706728137994</c:v>
                </c:pt>
                <c:pt idx="331">
                  <c:v>33.475324501426002</c:v>
                </c:pt>
                <c:pt idx="332">
                  <c:v>61.568564609039001</c:v>
                </c:pt>
                <c:pt idx="333">
                  <c:v>46.472720513058</c:v>
                </c:pt>
                <c:pt idx="334">
                  <c:v>14.374741043267001</c:v>
                </c:pt>
                <c:pt idx="335">
                  <c:v>29.656744367336</c:v>
                </c:pt>
                <c:pt idx="336">
                  <c:v>90.643224846505007</c:v>
                </c:pt>
                <c:pt idx="337">
                  <c:v>76.108108108107999</c:v>
                </c:pt>
                <c:pt idx="338">
                  <c:v>54.259834595020003</c:v>
                </c:pt>
                <c:pt idx="339">
                  <c:v>48.809925276441</c:v>
                </c:pt>
                <c:pt idx="340">
                  <c:v>54.503338329472001</c:v>
                </c:pt>
                <c:pt idx="341">
                  <c:v>33.759740141243</c:v>
                </c:pt>
                <c:pt idx="342">
                  <c:v>21.041845827309999</c:v>
                </c:pt>
                <c:pt idx="343">
                  <c:v>54.494906111741997</c:v>
                </c:pt>
                <c:pt idx="344">
                  <c:v>92.398152036959004</c:v>
                </c:pt>
                <c:pt idx="345">
                  <c:v>113.33906325264201</c:v>
                </c:pt>
                <c:pt idx="346">
                  <c:v>85.016143514891994</c:v>
                </c:pt>
                <c:pt idx="347">
                  <c:v>85.420306736556</c:v>
                </c:pt>
                <c:pt idx="348">
                  <c:v>81.848210544777004</c:v>
                </c:pt>
                <c:pt idx="349">
                  <c:v>57.620563704904001</c:v>
                </c:pt>
                <c:pt idx="350">
                  <c:v>192.78435692646599</c:v>
                </c:pt>
                <c:pt idx="351">
                  <c:v>217.99445105033601</c:v>
                </c:pt>
                <c:pt idx="352">
                  <c:v>246.68670788099101</c:v>
                </c:pt>
                <c:pt idx="353">
                  <c:v>245.643354038517</c:v>
                </c:pt>
                <c:pt idx="354">
                  <c:v>200.394685980509</c:v>
                </c:pt>
                <c:pt idx="355">
                  <c:v>137.60485999979599</c:v>
                </c:pt>
                <c:pt idx="356">
                  <c:v>155.18438355045501</c:v>
                </c:pt>
                <c:pt idx="357">
                  <c:v>290.957692900837</c:v>
                </c:pt>
                <c:pt idx="358">
                  <c:v>275.12308137851102</c:v>
                </c:pt>
                <c:pt idx="359">
                  <c:v>326.01110312574798</c:v>
                </c:pt>
                <c:pt idx="360">
                  <c:v>592.559963922012</c:v>
                </c:pt>
                <c:pt idx="361">
                  <c:v>426.082163903845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A0B-4754-90A8-6FC4E50C7F8C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Ukončené očkování - s posilující dávkou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70AD47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63</c:f>
              <c:numCache>
                <c:formatCode>m/d/yyyy</c:formatCode>
                <c:ptCount val="362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  <c:pt idx="348">
                  <c:v>44576</c:v>
                </c:pt>
                <c:pt idx="349">
                  <c:v>44577</c:v>
                </c:pt>
                <c:pt idx="350">
                  <c:v>44578</c:v>
                </c:pt>
                <c:pt idx="351">
                  <c:v>44579</c:v>
                </c:pt>
                <c:pt idx="352">
                  <c:v>44580</c:v>
                </c:pt>
                <c:pt idx="353">
                  <c:v>44581</c:v>
                </c:pt>
                <c:pt idx="354">
                  <c:v>44582</c:v>
                </c:pt>
                <c:pt idx="355">
                  <c:v>44583</c:v>
                </c:pt>
                <c:pt idx="356">
                  <c:v>44584</c:v>
                </c:pt>
                <c:pt idx="357">
                  <c:v>44585</c:v>
                </c:pt>
                <c:pt idx="358">
                  <c:v>44586</c:v>
                </c:pt>
                <c:pt idx="359">
                  <c:v>44587</c:v>
                </c:pt>
                <c:pt idx="360">
                  <c:v>44588</c:v>
                </c:pt>
                <c:pt idx="361">
                  <c:v>44589</c:v>
                </c:pt>
              </c:numCache>
            </c:numRef>
          </c:cat>
          <c:val>
            <c:numRef>
              <c:f>List1!$D$2:$D$363</c:f>
              <c:numCache>
                <c:formatCode>General</c:formatCode>
                <c:ptCount val="362"/>
                <c:pt idx="203">
                  <c:v>0</c:v>
                </c:pt>
                <c:pt idx="220">
                  <c:v>0</c:v>
                </c:pt>
                <c:pt idx="226">
                  <c:v>0</c:v>
                </c:pt>
                <c:pt idx="228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13.863856924996</c:v>
                </c:pt>
                <c:pt idx="247">
                  <c:v>11.592858798979</c:v>
                </c:pt>
                <c:pt idx="248">
                  <c:v>0</c:v>
                </c:pt>
                <c:pt idx="249">
                  <c:v>0</c:v>
                </c:pt>
                <c:pt idx="250">
                  <c:v>7.9510217062889996</c:v>
                </c:pt>
                <c:pt idx="251">
                  <c:v>0</c:v>
                </c:pt>
                <c:pt idx="252">
                  <c:v>0</c:v>
                </c:pt>
                <c:pt idx="253">
                  <c:v>6.5737575598209999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4.8076923076920002</c:v>
                </c:pt>
                <c:pt idx="258">
                  <c:v>0</c:v>
                </c:pt>
                <c:pt idx="259">
                  <c:v>4.4756747079619998</c:v>
                </c:pt>
                <c:pt idx="260">
                  <c:v>8.3948959032899992</c:v>
                </c:pt>
                <c:pt idx="261">
                  <c:v>11.681788092364</c:v>
                </c:pt>
                <c:pt idx="262">
                  <c:v>0</c:v>
                </c:pt>
                <c:pt idx="263">
                  <c:v>6.4649599172479997</c:v>
                </c:pt>
                <c:pt idx="264">
                  <c:v>6.371252906884</c:v>
                </c:pt>
                <c:pt idx="265">
                  <c:v>0</c:v>
                </c:pt>
                <c:pt idx="266">
                  <c:v>17.878426698449999</c:v>
                </c:pt>
                <c:pt idx="267">
                  <c:v>11.24321893358</c:v>
                </c:pt>
                <c:pt idx="268">
                  <c:v>15.524334394162</c:v>
                </c:pt>
                <c:pt idx="269">
                  <c:v>10.251678712388999</c:v>
                </c:pt>
                <c:pt idx="270">
                  <c:v>26.752924581073</c:v>
                </c:pt>
                <c:pt idx="271">
                  <c:v>14.473176379776</c:v>
                </c:pt>
                <c:pt idx="272">
                  <c:v>9.5753339397709993</c:v>
                </c:pt>
                <c:pt idx="273">
                  <c:v>29.929091076525999</c:v>
                </c:pt>
                <c:pt idx="274">
                  <c:v>15.431078191477001</c:v>
                </c:pt>
                <c:pt idx="275">
                  <c:v>18.894067262878998</c:v>
                </c:pt>
                <c:pt idx="276">
                  <c:v>13.851237707026</c:v>
                </c:pt>
                <c:pt idx="277">
                  <c:v>29.48004569407</c:v>
                </c:pt>
                <c:pt idx="278">
                  <c:v>21.893814997263</c:v>
                </c:pt>
                <c:pt idx="279">
                  <c:v>7.2584742687080004</c:v>
                </c:pt>
                <c:pt idx="280">
                  <c:v>29.933793492041001</c:v>
                </c:pt>
                <c:pt idx="281">
                  <c:v>47.763638224556999</c:v>
                </c:pt>
                <c:pt idx="282">
                  <c:v>27.975710500765</c:v>
                </c:pt>
                <c:pt idx="283">
                  <c:v>30.235999936344999</c:v>
                </c:pt>
                <c:pt idx="284">
                  <c:v>46.801636547548</c:v>
                </c:pt>
                <c:pt idx="285">
                  <c:v>18.012879208634001</c:v>
                </c:pt>
                <c:pt idx="286">
                  <c:v>11.964942717835999</c:v>
                </c:pt>
                <c:pt idx="287">
                  <c:v>54.109388710148998</c:v>
                </c:pt>
                <c:pt idx="288">
                  <c:v>57.940702637008002</c:v>
                </c:pt>
                <c:pt idx="289">
                  <c:v>26.716537536735</c:v>
                </c:pt>
                <c:pt idx="290">
                  <c:v>30.149789636695001</c:v>
                </c:pt>
                <c:pt idx="291">
                  <c:v>59.370670888581003</c:v>
                </c:pt>
                <c:pt idx="292">
                  <c:v>20.969855832240999</c:v>
                </c:pt>
                <c:pt idx="293">
                  <c:v>19.603230612404001</c:v>
                </c:pt>
                <c:pt idx="294">
                  <c:v>44.857992412590001</c:v>
                </c:pt>
                <c:pt idx="295">
                  <c:v>56.352843940189999</c:v>
                </c:pt>
                <c:pt idx="296">
                  <c:v>31.854937515313999</c:v>
                </c:pt>
                <c:pt idx="297">
                  <c:v>55.053557536950997</c:v>
                </c:pt>
                <c:pt idx="298">
                  <c:v>40.264132710581002</c:v>
                </c:pt>
                <c:pt idx="299">
                  <c:v>28.586130009719</c:v>
                </c:pt>
                <c:pt idx="300">
                  <c:v>26.168181766465999</c:v>
                </c:pt>
                <c:pt idx="301">
                  <c:v>50.271465915946003</c:v>
                </c:pt>
                <c:pt idx="302">
                  <c:v>40.547945205479003</c:v>
                </c:pt>
                <c:pt idx="303">
                  <c:v>49.500688705233998</c:v>
                </c:pt>
                <c:pt idx="304">
                  <c:v>43.173346250236001</c:v>
                </c:pt>
                <c:pt idx="305">
                  <c:v>45.643574399026001</c:v>
                </c:pt>
                <c:pt idx="306">
                  <c:v>22.192408178910998</c:v>
                </c:pt>
                <c:pt idx="307">
                  <c:v>24.126422453657</c:v>
                </c:pt>
                <c:pt idx="308">
                  <c:v>51.485148514850998</c:v>
                </c:pt>
                <c:pt idx="309">
                  <c:v>41.870338273384</c:v>
                </c:pt>
                <c:pt idx="310">
                  <c:v>30.600925678001001</c:v>
                </c:pt>
                <c:pt idx="311">
                  <c:v>37.570679841451003</c:v>
                </c:pt>
                <c:pt idx="312">
                  <c:v>26.488856412130001</c:v>
                </c:pt>
                <c:pt idx="313">
                  <c:v>15.439527005548999</c:v>
                </c:pt>
                <c:pt idx="314">
                  <c:v>9.0508385601920001</c:v>
                </c:pt>
                <c:pt idx="315">
                  <c:v>39.358809217116999</c:v>
                </c:pt>
                <c:pt idx="316">
                  <c:v>37.996606814647002</c:v>
                </c:pt>
                <c:pt idx="317">
                  <c:v>34.886661956966996</c:v>
                </c:pt>
                <c:pt idx="318">
                  <c:v>15.464847542377001</c:v>
                </c:pt>
                <c:pt idx="319">
                  <c:v>32.008895103481002</c:v>
                </c:pt>
                <c:pt idx="320">
                  <c:v>15.944546545488</c:v>
                </c:pt>
                <c:pt idx="321">
                  <c:v>14.227012913106</c:v>
                </c:pt>
                <c:pt idx="322">
                  <c:v>26.501254668775001</c:v>
                </c:pt>
                <c:pt idx="323">
                  <c:v>29.511099452404999</c:v>
                </c:pt>
                <c:pt idx="324">
                  <c:v>17.876731808393</c:v>
                </c:pt>
                <c:pt idx="325">
                  <c:v>19.432883677997001</c:v>
                </c:pt>
                <c:pt idx="326">
                  <c:v>5.6676031706190004</c:v>
                </c:pt>
                <c:pt idx="327">
                  <c:v>4.8578669106390002</c:v>
                </c:pt>
                <c:pt idx="328">
                  <c:v>7.2856206134489998</c:v>
                </c:pt>
                <c:pt idx="329">
                  <c:v>28.122388635341</c:v>
                </c:pt>
                <c:pt idx="330">
                  <c:v>29.490296098512999</c:v>
                </c:pt>
                <c:pt idx="331">
                  <c:v>27.6557413319</c:v>
                </c:pt>
                <c:pt idx="332">
                  <c:v>15.690704826459999</c:v>
                </c:pt>
                <c:pt idx="333">
                  <c:v>25.065208707025999</c:v>
                </c:pt>
                <c:pt idx="334">
                  <c:v>5.4827137866750002</c:v>
                </c:pt>
                <c:pt idx="335">
                  <c:v>25.813113061435001</c:v>
                </c:pt>
                <c:pt idx="336">
                  <c:v>60.541144693334999</c:v>
                </c:pt>
                <c:pt idx="337">
                  <c:v>50.739177564057997</c:v>
                </c:pt>
                <c:pt idx="338">
                  <c:v>37.302638590721003</c:v>
                </c:pt>
                <c:pt idx="339">
                  <c:v>39.138059504902998</c:v>
                </c:pt>
                <c:pt idx="340">
                  <c:v>45.057688614439002</c:v>
                </c:pt>
                <c:pt idx="341">
                  <c:v>23.565800132557001</c:v>
                </c:pt>
                <c:pt idx="342">
                  <c:v>27.205082203463999</c:v>
                </c:pt>
                <c:pt idx="343">
                  <c:v>62.060103384831002</c:v>
                </c:pt>
                <c:pt idx="344">
                  <c:v>76.082545939365005</c:v>
                </c:pt>
                <c:pt idx="345">
                  <c:v>91.956004798953998</c:v>
                </c:pt>
                <c:pt idx="346">
                  <c:v>64.143681847338001</c:v>
                </c:pt>
                <c:pt idx="347">
                  <c:v>79.634667155279999</c:v>
                </c:pt>
                <c:pt idx="348">
                  <c:v>53.442092679839</c:v>
                </c:pt>
                <c:pt idx="349">
                  <c:v>58.300027393988003</c:v>
                </c:pt>
                <c:pt idx="350">
                  <c:v>189.49193785223801</c:v>
                </c:pt>
                <c:pt idx="351">
                  <c:v>182.34458951588201</c:v>
                </c:pt>
                <c:pt idx="352">
                  <c:v>223.68575959667299</c:v>
                </c:pt>
                <c:pt idx="353">
                  <c:v>206.731166790705</c:v>
                </c:pt>
                <c:pt idx="354">
                  <c:v>231.40699561148199</c:v>
                </c:pt>
                <c:pt idx="355">
                  <c:v>125.185555091905</c:v>
                </c:pt>
                <c:pt idx="356">
                  <c:v>140.84121861838801</c:v>
                </c:pt>
                <c:pt idx="357">
                  <c:v>352.69766048424401</c:v>
                </c:pt>
                <c:pt idx="358">
                  <c:v>312.81595429222801</c:v>
                </c:pt>
                <c:pt idx="359">
                  <c:v>345.34493944636603</c:v>
                </c:pt>
                <c:pt idx="360">
                  <c:v>436.892877097792</c:v>
                </c:pt>
                <c:pt idx="361">
                  <c:v>404.758081781202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A0B-4754-90A8-6FC4E50C7F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sz="16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99CCF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rgbClr val="00206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184</c:f>
              <c:numCache>
                <c:formatCode>m/d/yyyy</c:formatCode>
                <c:ptCount val="183"/>
                <c:pt idx="0">
                  <c:v>44407</c:v>
                </c:pt>
                <c:pt idx="1">
                  <c:v>44408</c:v>
                </c:pt>
                <c:pt idx="2">
                  <c:v>44409</c:v>
                </c:pt>
                <c:pt idx="3">
                  <c:v>44410</c:v>
                </c:pt>
                <c:pt idx="4">
                  <c:v>44411</c:v>
                </c:pt>
                <c:pt idx="5">
                  <c:v>44412</c:v>
                </c:pt>
                <c:pt idx="6">
                  <c:v>44413</c:v>
                </c:pt>
                <c:pt idx="7">
                  <c:v>44414</c:v>
                </c:pt>
                <c:pt idx="8">
                  <c:v>44415</c:v>
                </c:pt>
                <c:pt idx="9">
                  <c:v>44416</c:v>
                </c:pt>
                <c:pt idx="10">
                  <c:v>44417</c:v>
                </c:pt>
                <c:pt idx="11">
                  <c:v>44418</c:v>
                </c:pt>
                <c:pt idx="12">
                  <c:v>44419</c:v>
                </c:pt>
                <c:pt idx="13">
                  <c:v>44420</c:v>
                </c:pt>
                <c:pt idx="14">
                  <c:v>44421</c:v>
                </c:pt>
                <c:pt idx="15">
                  <c:v>44422</c:v>
                </c:pt>
                <c:pt idx="16">
                  <c:v>44423</c:v>
                </c:pt>
                <c:pt idx="17">
                  <c:v>44424</c:v>
                </c:pt>
                <c:pt idx="18">
                  <c:v>44425</c:v>
                </c:pt>
                <c:pt idx="19">
                  <c:v>44426</c:v>
                </c:pt>
                <c:pt idx="20">
                  <c:v>44427</c:v>
                </c:pt>
                <c:pt idx="21">
                  <c:v>44428</c:v>
                </c:pt>
                <c:pt idx="22">
                  <c:v>44429</c:v>
                </c:pt>
                <c:pt idx="23">
                  <c:v>44430</c:v>
                </c:pt>
                <c:pt idx="24">
                  <c:v>44431</c:v>
                </c:pt>
                <c:pt idx="25">
                  <c:v>44432</c:v>
                </c:pt>
                <c:pt idx="26">
                  <c:v>44433</c:v>
                </c:pt>
                <c:pt idx="27">
                  <c:v>44434</c:v>
                </c:pt>
                <c:pt idx="28">
                  <c:v>44435</c:v>
                </c:pt>
                <c:pt idx="29">
                  <c:v>44436</c:v>
                </c:pt>
                <c:pt idx="30">
                  <c:v>44437</c:v>
                </c:pt>
                <c:pt idx="31">
                  <c:v>44438</c:v>
                </c:pt>
                <c:pt idx="32">
                  <c:v>44439</c:v>
                </c:pt>
                <c:pt idx="33">
                  <c:v>44440</c:v>
                </c:pt>
                <c:pt idx="34">
                  <c:v>44441</c:v>
                </c:pt>
                <c:pt idx="35">
                  <c:v>44442</c:v>
                </c:pt>
                <c:pt idx="36">
                  <c:v>44443</c:v>
                </c:pt>
                <c:pt idx="37">
                  <c:v>44444</c:v>
                </c:pt>
                <c:pt idx="38">
                  <c:v>44445</c:v>
                </c:pt>
                <c:pt idx="39">
                  <c:v>44446</c:v>
                </c:pt>
                <c:pt idx="40">
                  <c:v>44447</c:v>
                </c:pt>
                <c:pt idx="41">
                  <c:v>44448</c:v>
                </c:pt>
                <c:pt idx="42">
                  <c:v>44449</c:v>
                </c:pt>
                <c:pt idx="43">
                  <c:v>44450</c:v>
                </c:pt>
                <c:pt idx="44">
                  <c:v>44451</c:v>
                </c:pt>
                <c:pt idx="45">
                  <c:v>44452</c:v>
                </c:pt>
                <c:pt idx="46">
                  <c:v>44453</c:v>
                </c:pt>
                <c:pt idx="47">
                  <c:v>44454</c:v>
                </c:pt>
                <c:pt idx="48">
                  <c:v>44455</c:v>
                </c:pt>
                <c:pt idx="49">
                  <c:v>44456</c:v>
                </c:pt>
                <c:pt idx="50">
                  <c:v>44457</c:v>
                </c:pt>
                <c:pt idx="51">
                  <c:v>44458</c:v>
                </c:pt>
                <c:pt idx="52">
                  <c:v>44459</c:v>
                </c:pt>
                <c:pt idx="53">
                  <c:v>44460</c:v>
                </c:pt>
                <c:pt idx="54">
                  <c:v>44461</c:v>
                </c:pt>
                <c:pt idx="55">
                  <c:v>44462</c:v>
                </c:pt>
                <c:pt idx="56">
                  <c:v>44463</c:v>
                </c:pt>
                <c:pt idx="57">
                  <c:v>44464</c:v>
                </c:pt>
                <c:pt idx="58">
                  <c:v>44465</c:v>
                </c:pt>
                <c:pt idx="59">
                  <c:v>44466</c:v>
                </c:pt>
                <c:pt idx="60">
                  <c:v>44467</c:v>
                </c:pt>
                <c:pt idx="61">
                  <c:v>44468</c:v>
                </c:pt>
                <c:pt idx="62">
                  <c:v>44469</c:v>
                </c:pt>
                <c:pt idx="63">
                  <c:v>44470</c:v>
                </c:pt>
                <c:pt idx="64">
                  <c:v>44471</c:v>
                </c:pt>
                <c:pt idx="65">
                  <c:v>44472</c:v>
                </c:pt>
                <c:pt idx="66">
                  <c:v>44473</c:v>
                </c:pt>
                <c:pt idx="67">
                  <c:v>44474</c:v>
                </c:pt>
                <c:pt idx="68">
                  <c:v>44475</c:v>
                </c:pt>
                <c:pt idx="69">
                  <c:v>44476</c:v>
                </c:pt>
                <c:pt idx="70">
                  <c:v>44477</c:v>
                </c:pt>
                <c:pt idx="71">
                  <c:v>44478</c:v>
                </c:pt>
                <c:pt idx="72">
                  <c:v>44479</c:v>
                </c:pt>
                <c:pt idx="73">
                  <c:v>44480</c:v>
                </c:pt>
                <c:pt idx="74">
                  <c:v>44481</c:v>
                </c:pt>
                <c:pt idx="75">
                  <c:v>44482</c:v>
                </c:pt>
                <c:pt idx="76">
                  <c:v>44483</c:v>
                </c:pt>
                <c:pt idx="77">
                  <c:v>44484</c:v>
                </c:pt>
                <c:pt idx="78">
                  <c:v>44485</c:v>
                </c:pt>
                <c:pt idx="79">
                  <c:v>44486</c:v>
                </c:pt>
                <c:pt idx="80">
                  <c:v>44487</c:v>
                </c:pt>
                <c:pt idx="81">
                  <c:v>44488</c:v>
                </c:pt>
                <c:pt idx="82">
                  <c:v>44489</c:v>
                </c:pt>
                <c:pt idx="83">
                  <c:v>44490</c:v>
                </c:pt>
                <c:pt idx="84">
                  <c:v>44491</c:v>
                </c:pt>
                <c:pt idx="85">
                  <c:v>44492</c:v>
                </c:pt>
                <c:pt idx="86">
                  <c:v>44493</c:v>
                </c:pt>
                <c:pt idx="87">
                  <c:v>44494</c:v>
                </c:pt>
                <c:pt idx="88">
                  <c:v>44495</c:v>
                </c:pt>
                <c:pt idx="89">
                  <c:v>44496</c:v>
                </c:pt>
                <c:pt idx="90">
                  <c:v>44497</c:v>
                </c:pt>
                <c:pt idx="91">
                  <c:v>44498</c:v>
                </c:pt>
                <c:pt idx="92">
                  <c:v>44499</c:v>
                </c:pt>
                <c:pt idx="93">
                  <c:v>44500</c:v>
                </c:pt>
                <c:pt idx="94">
                  <c:v>44501</c:v>
                </c:pt>
                <c:pt idx="95">
                  <c:v>44502</c:v>
                </c:pt>
                <c:pt idx="96">
                  <c:v>44503</c:v>
                </c:pt>
                <c:pt idx="97">
                  <c:v>44504</c:v>
                </c:pt>
                <c:pt idx="98">
                  <c:v>44505</c:v>
                </c:pt>
                <c:pt idx="99">
                  <c:v>44506</c:v>
                </c:pt>
                <c:pt idx="100">
                  <c:v>44507</c:v>
                </c:pt>
                <c:pt idx="101">
                  <c:v>44508</c:v>
                </c:pt>
                <c:pt idx="102">
                  <c:v>44509</c:v>
                </c:pt>
                <c:pt idx="103">
                  <c:v>44510</c:v>
                </c:pt>
                <c:pt idx="104">
                  <c:v>44511</c:v>
                </c:pt>
                <c:pt idx="105">
                  <c:v>44512</c:v>
                </c:pt>
                <c:pt idx="106">
                  <c:v>44513</c:v>
                </c:pt>
                <c:pt idx="107">
                  <c:v>44514</c:v>
                </c:pt>
                <c:pt idx="108">
                  <c:v>44515</c:v>
                </c:pt>
                <c:pt idx="109">
                  <c:v>44516</c:v>
                </c:pt>
                <c:pt idx="110">
                  <c:v>44517</c:v>
                </c:pt>
                <c:pt idx="111">
                  <c:v>44518</c:v>
                </c:pt>
                <c:pt idx="112">
                  <c:v>44519</c:v>
                </c:pt>
                <c:pt idx="113">
                  <c:v>44520</c:v>
                </c:pt>
                <c:pt idx="114">
                  <c:v>44521</c:v>
                </c:pt>
                <c:pt idx="115">
                  <c:v>44522</c:v>
                </c:pt>
                <c:pt idx="116">
                  <c:v>44523</c:v>
                </c:pt>
                <c:pt idx="117">
                  <c:v>44524</c:v>
                </c:pt>
                <c:pt idx="118">
                  <c:v>44525</c:v>
                </c:pt>
                <c:pt idx="119">
                  <c:v>44526</c:v>
                </c:pt>
                <c:pt idx="120">
                  <c:v>44527</c:v>
                </c:pt>
                <c:pt idx="121">
                  <c:v>44528</c:v>
                </c:pt>
                <c:pt idx="122">
                  <c:v>44529</c:v>
                </c:pt>
                <c:pt idx="123">
                  <c:v>44530</c:v>
                </c:pt>
                <c:pt idx="124">
                  <c:v>44531</c:v>
                </c:pt>
                <c:pt idx="125">
                  <c:v>44532</c:v>
                </c:pt>
                <c:pt idx="126">
                  <c:v>44533</c:v>
                </c:pt>
                <c:pt idx="127">
                  <c:v>44534</c:v>
                </c:pt>
                <c:pt idx="128">
                  <c:v>44535</c:v>
                </c:pt>
                <c:pt idx="129">
                  <c:v>44536</c:v>
                </c:pt>
                <c:pt idx="130">
                  <c:v>44537</c:v>
                </c:pt>
                <c:pt idx="131">
                  <c:v>44538</c:v>
                </c:pt>
                <c:pt idx="132">
                  <c:v>44539</c:v>
                </c:pt>
                <c:pt idx="133">
                  <c:v>44540</c:v>
                </c:pt>
                <c:pt idx="134">
                  <c:v>44541</c:v>
                </c:pt>
                <c:pt idx="135">
                  <c:v>44542</c:v>
                </c:pt>
                <c:pt idx="136">
                  <c:v>44543</c:v>
                </c:pt>
                <c:pt idx="137">
                  <c:v>44544</c:v>
                </c:pt>
                <c:pt idx="138">
                  <c:v>44545</c:v>
                </c:pt>
                <c:pt idx="139">
                  <c:v>44546</c:v>
                </c:pt>
                <c:pt idx="140">
                  <c:v>44547</c:v>
                </c:pt>
                <c:pt idx="141">
                  <c:v>44548</c:v>
                </c:pt>
                <c:pt idx="142">
                  <c:v>44549</c:v>
                </c:pt>
                <c:pt idx="143">
                  <c:v>44550</c:v>
                </c:pt>
                <c:pt idx="144">
                  <c:v>44551</c:v>
                </c:pt>
                <c:pt idx="145">
                  <c:v>44552</c:v>
                </c:pt>
                <c:pt idx="146">
                  <c:v>44553</c:v>
                </c:pt>
                <c:pt idx="147">
                  <c:v>44554</c:v>
                </c:pt>
                <c:pt idx="148">
                  <c:v>44555</c:v>
                </c:pt>
                <c:pt idx="149">
                  <c:v>44556</c:v>
                </c:pt>
                <c:pt idx="150">
                  <c:v>44557</c:v>
                </c:pt>
                <c:pt idx="151">
                  <c:v>44558</c:v>
                </c:pt>
                <c:pt idx="152">
                  <c:v>44559</c:v>
                </c:pt>
                <c:pt idx="153">
                  <c:v>44560</c:v>
                </c:pt>
                <c:pt idx="154">
                  <c:v>44561</c:v>
                </c:pt>
                <c:pt idx="155">
                  <c:v>44562</c:v>
                </c:pt>
                <c:pt idx="156">
                  <c:v>44563</c:v>
                </c:pt>
                <c:pt idx="157">
                  <c:v>44564</c:v>
                </c:pt>
                <c:pt idx="158">
                  <c:v>44565</c:v>
                </c:pt>
                <c:pt idx="159">
                  <c:v>44566</c:v>
                </c:pt>
                <c:pt idx="160">
                  <c:v>44567</c:v>
                </c:pt>
                <c:pt idx="161">
                  <c:v>44568</c:v>
                </c:pt>
                <c:pt idx="162">
                  <c:v>44569</c:v>
                </c:pt>
                <c:pt idx="163">
                  <c:v>44570</c:v>
                </c:pt>
                <c:pt idx="164">
                  <c:v>44571</c:v>
                </c:pt>
                <c:pt idx="165">
                  <c:v>44572</c:v>
                </c:pt>
                <c:pt idx="166">
                  <c:v>44573</c:v>
                </c:pt>
                <c:pt idx="167">
                  <c:v>44574</c:v>
                </c:pt>
                <c:pt idx="168">
                  <c:v>44575</c:v>
                </c:pt>
                <c:pt idx="169">
                  <c:v>44576</c:v>
                </c:pt>
                <c:pt idx="170">
                  <c:v>44577</c:v>
                </c:pt>
                <c:pt idx="171">
                  <c:v>44578</c:v>
                </c:pt>
                <c:pt idx="172">
                  <c:v>44579</c:v>
                </c:pt>
                <c:pt idx="173">
                  <c:v>44580</c:v>
                </c:pt>
                <c:pt idx="174">
                  <c:v>44581</c:v>
                </c:pt>
                <c:pt idx="175">
                  <c:v>44582</c:v>
                </c:pt>
                <c:pt idx="176">
                  <c:v>44583</c:v>
                </c:pt>
                <c:pt idx="177">
                  <c:v>44584</c:v>
                </c:pt>
                <c:pt idx="178">
                  <c:v>44585</c:v>
                </c:pt>
                <c:pt idx="179">
                  <c:v>44586</c:v>
                </c:pt>
                <c:pt idx="180">
                  <c:v>44587</c:v>
                </c:pt>
                <c:pt idx="181">
                  <c:v>44588</c:v>
                </c:pt>
                <c:pt idx="182">
                  <c:v>44589</c:v>
                </c:pt>
              </c:numCache>
            </c:numRef>
          </c:cat>
          <c:val>
            <c:numRef>
              <c:f>Sheet1!$B$2:$B$184</c:f>
              <c:numCache>
                <c:formatCode>#\ ##0_ ;\-#\ ##0\ 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1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0</c:v>
                </c:pt>
                <c:pt idx="26">
                  <c:v>0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4</c:v>
                </c:pt>
                <c:pt idx="34">
                  <c:v>1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1</c:v>
                </c:pt>
                <c:pt idx="39">
                  <c:v>2</c:v>
                </c:pt>
                <c:pt idx="40">
                  <c:v>1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1</c:v>
                </c:pt>
                <c:pt idx="45">
                  <c:v>0</c:v>
                </c:pt>
                <c:pt idx="46">
                  <c:v>1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1</c:v>
                </c:pt>
                <c:pt idx="51">
                  <c:v>0</c:v>
                </c:pt>
                <c:pt idx="52">
                  <c:v>4</c:v>
                </c:pt>
                <c:pt idx="53">
                  <c:v>4</c:v>
                </c:pt>
                <c:pt idx="54">
                  <c:v>2</c:v>
                </c:pt>
                <c:pt idx="55">
                  <c:v>0</c:v>
                </c:pt>
                <c:pt idx="56">
                  <c:v>0</c:v>
                </c:pt>
                <c:pt idx="57">
                  <c:v>1</c:v>
                </c:pt>
                <c:pt idx="58">
                  <c:v>1</c:v>
                </c:pt>
                <c:pt idx="59">
                  <c:v>5</c:v>
                </c:pt>
                <c:pt idx="60">
                  <c:v>2</c:v>
                </c:pt>
                <c:pt idx="61">
                  <c:v>7</c:v>
                </c:pt>
                <c:pt idx="62">
                  <c:v>3</c:v>
                </c:pt>
                <c:pt idx="63">
                  <c:v>2</c:v>
                </c:pt>
                <c:pt idx="64">
                  <c:v>0</c:v>
                </c:pt>
                <c:pt idx="65">
                  <c:v>0</c:v>
                </c:pt>
                <c:pt idx="66">
                  <c:v>3</c:v>
                </c:pt>
                <c:pt idx="67">
                  <c:v>5</c:v>
                </c:pt>
                <c:pt idx="68">
                  <c:v>2</c:v>
                </c:pt>
                <c:pt idx="69">
                  <c:v>1</c:v>
                </c:pt>
                <c:pt idx="70">
                  <c:v>2</c:v>
                </c:pt>
                <c:pt idx="71">
                  <c:v>1</c:v>
                </c:pt>
                <c:pt idx="72">
                  <c:v>0</c:v>
                </c:pt>
                <c:pt idx="73">
                  <c:v>2</c:v>
                </c:pt>
                <c:pt idx="74">
                  <c:v>3</c:v>
                </c:pt>
                <c:pt idx="75">
                  <c:v>1</c:v>
                </c:pt>
                <c:pt idx="76">
                  <c:v>3</c:v>
                </c:pt>
                <c:pt idx="77">
                  <c:v>6</c:v>
                </c:pt>
                <c:pt idx="78">
                  <c:v>2</c:v>
                </c:pt>
                <c:pt idx="79">
                  <c:v>1</c:v>
                </c:pt>
                <c:pt idx="80">
                  <c:v>12</c:v>
                </c:pt>
                <c:pt idx="81">
                  <c:v>8</c:v>
                </c:pt>
                <c:pt idx="82">
                  <c:v>11</c:v>
                </c:pt>
                <c:pt idx="83">
                  <c:v>7</c:v>
                </c:pt>
                <c:pt idx="84">
                  <c:v>10</c:v>
                </c:pt>
                <c:pt idx="85">
                  <c:v>0</c:v>
                </c:pt>
                <c:pt idx="86">
                  <c:v>4</c:v>
                </c:pt>
                <c:pt idx="87">
                  <c:v>19</c:v>
                </c:pt>
                <c:pt idx="88">
                  <c:v>5</c:v>
                </c:pt>
                <c:pt idx="89">
                  <c:v>17</c:v>
                </c:pt>
                <c:pt idx="90">
                  <c:v>3</c:v>
                </c:pt>
                <c:pt idx="91">
                  <c:v>8</c:v>
                </c:pt>
                <c:pt idx="92">
                  <c:v>5</c:v>
                </c:pt>
                <c:pt idx="93">
                  <c:v>4</c:v>
                </c:pt>
                <c:pt idx="94">
                  <c:v>41</c:v>
                </c:pt>
                <c:pt idx="95">
                  <c:v>25</c:v>
                </c:pt>
                <c:pt idx="96">
                  <c:v>19</c:v>
                </c:pt>
                <c:pt idx="97">
                  <c:v>25</c:v>
                </c:pt>
                <c:pt idx="98">
                  <c:v>27</c:v>
                </c:pt>
                <c:pt idx="99">
                  <c:v>13</c:v>
                </c:pt>
                <c:pt idx="100">
                  <c:v>5</c:v>
                </c:pt>
                <c:pt idx="101">
                  <c:v>52</c:v>
                </c:pt>
                <c:pt idx="102">
                  <c:v>26</c:v>
                </c:pt>
                <c:pt idx="103">
                  <c:v>29</c:v>
                </c:pt>
                <c:pt idx="104">
                  <c:v>36</c:v>
                </c:pt>
                <c:pt idx="105">
                  <c:v>34</c:v>
                </c:pt>
                <c:pt idx="106">
                  <c:v>20</c:v>
                </c:pt>
                <c:pt idx="107">
                  <c:v>14</c:v>
                </c:pt>
                <c:pt idx="108">
                  <c:v>56</c:v>
                </c:pt>
                <c:pt idx="109">
                  <c:v>34</c:v>
                </c:pt>
                <c:pt idx="110">
                  <c:v>14</c:v>
                </c:pt>
                <c:pt idx="111">
                  <c:v>42</c:v>
                </c:pt>
                <c:pt idx="112">
                  <c:v>52</c:v>
                </c:pt>
                <c:pt idx="113">
                  <c:v>11</c:v>
                </c:pt>
                <c:pt idx="114">
                  <c:v>7</c:v>
                </c:pt>
                <c:pt idx="115">
                  <c:v>70</c:v>
                </c:pt>
                <c:pt idx="116">
                  <c:v>44</c:v>
                </c:pt>
                <c:pt idx="117">
                  <c:v>46</c:v>
                </c:pt>
                <c:pt idx="118">
                  <c:v>49</c:v>
                </c:pt>
                <c:pt idx="119">
                  <c:v>48</c:v>
                </c:pt>
                <c:pt idx="120">
                  <c:v>22</c:v>
                </c:pt>
                <c:pt idx="121">
                  <c:v>8</c:v>
                </c:pt>
                <c:pt idx="122">
                  <c:v>43</c:v>
                </c:pt>
                <c:pt idx="123">
                  <c:v>48</c:v>
                </c:pt>
                <c:pt idx="124">
                  <c:v>41</c:v>
                </c:pt>
                <c:pt idx="125">
                  <c:v>32</c:v>
                </c:pt>
                <c:pt idx="126">
                  <c:v>29</c:v>
                </c:pt>
                <c:pt idx="127">
                  <c:v>21</c:v>
                </c:pt>
                <c:pt idx="128">
                  <c:v>9</c:v>
                </c:pt>
                <c:pt idx="129">
                  <c:v>48</c:v>
                </c:pt>
                <c:pt idx="130">
                  <c:v>35</c:v>
                </c:pt>
                <c:pt idx="131">
                  <c:v>34</c:v>
                </c:pt>
                <c:pt idx="132">
                  <c:v>25</c:v>
                </c:pt>
                <c:pt idx="133">
                  <c:v>19</c:v>
                </c:pt>
                <c:pt idx="134">
                  <c:v>13</c:v>
                </c:pt>
                <c:pt idx="135">
                  <c:v>8</c:v>
                </c:pt>
                <c:pt idx="136">
                  <c:v>30</c:v>
                </c:pt>
                <c:pt idx="137">
                  <c:v>36</c:v>
                </c:pt>
                <c:pt idx="138">
                  <c:v>28</c:v>
                </c:pt>
                <c:pt idx="139">
                  <c:v>17</c:v>
                </c:pt>
                <c:pt idx="140">
                  <c:v>14</c:v>
                </c:pt>
                <c:pt idx="141">
                  <c:v>8</c:v>
                </c:pt>
                <c:pt idx="142">
                  <c:v>10</c:v>
                </c:pt>
                <c:pt idx="143">
                  <c:v>25</c:v>
                </c:pt>
                <c:pt idx="144">
                  <c:v>12</c:v>
                </c:pt>
                <c:pt idx="145">
                  <c:v>8</c:v>
                </c:pt>
                <c:pt idx="146">
                  <c:v>4</c:v>
                </c:pt>
                <c:pt idx="147">
                  <c:v>7</c:v>
                </c:pt>
                <c:pt idx="148">
                  <c:v>3</c:v>
                </c:pt>
                <c:pt idx="149">
                  <c:v>5</c:v>
                </c:pt>
                <c:pt idx="150">
                  <c:v>10</c:v>
                </c:pt>
                <c:pt idx="151">
                  <c:v>17</c:v>
                </c:pt>
                <c:pt idx="152">
                  <c:v>8</c:v>
                </c:pt>
                <c:pt idx="153">
                  <c:v>9</c:v>
                </c:pt>
                <c:pt idx="154">
                  <c:v>6</c:v>
                </c:pt>
                <c:pt idx="155">
                  <c:v>0</c:v>
                </c:pt>
                <c:pt idx="156">
                  <c:v>3</c:v>
                </c:pt>
                <c:pt idx="157">
                  <c:v>19</c:v>
                </c:pt>
                <c:pt idx="158">
                  <c:v>14</c:v>
                </c:pt>
                <c:pt idx="159">
                  <c:v>5</c:v>
                </c:pt>
                <c:pt idx="160" formatCode="General">
                  <c:v>9</c:v>
                </c:pt>
                <c:pt idx="161" formatCode="General">
                  <c:v>11</c:v>
                </c:pt>
                <c:pt idx="162" formatCode="General">
                  <c:v>3</c:v>
                </c:pt>
                <c:pt idx="163" formatCode="General">
                  <c:v>3</c:v>
                </c:pt>
                <c:pt idx="164" formatCode="General">
                  <c:v>18</c:v>
                </c:pt>
                <c:pt idx="165" formatCode="General">
                  <c:v>11</c:v>
                </c:pt>
                <c:pt idx="166" formatCode="General">
                  <c:v>8</c:v>
                </c:pt>
                <c:pt idx="167" formatCode="General">
                  <c:v>13</c:v>
                </c:pt>
                <c:pt idx="168" formatCode="General">
                  <c:v>11</c:v>
                </c:pt>
                <c:pt idx="169" formatCode="General">
                  <c:v>6</c:v>
                </c:pt>
                <c:pt idx="170" formatCode="General">
                  <c:v>10</c:v>
                </c:pt>
                <c:pt idx="171" formatCode="General">
                  <c:v>44</c:v>
                </c:pt>
                <c:pt idx="172" formatCode="General">
                  <c:v>25</c:v>
                </c:pt>
                <c:pt idx="173" formatCode="General">
                  <c:v>35</c:v>
                </c:pt>
                <c:pt idx="174" formatCode="General">
                  <c:v>56</c:v>
                </c:pt>
                <c:pt idx="175" formatCode="General">
                  <c:v>56</c:v>
                </c:pt>
                <c:pt idx="176" formatCode="General">
                  <c:v>24</c:v>
                </c:pt>
                <c:pt idx="177" formatCode="General">
                  <c:v>23</c:v>
                </c:pt>
                <c:pt idx="178" formatCode="General">
                  <c:v>61</c:v>
                </c:pt>
                <c:pt idx="179" formatCode="General">
                  <c:v>100</c:v>
                </c:pt>
                <c:pt idx="180" formatCode="General">
                  <c:v>107</c:v>
                </c:pt>
                <c:pt idx="181" formatCode="General">
                  <c:v>80</c:v>
                </c:pt>
                <c:pt idx="182" formatCode="General">
                  <c:v>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2B-4678-9FFD-46841F3CB3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  <c:majorUnit val="7"/>
        <c:majorTimeUnit val="days"/>
      </c:dateAx>
      <c:valAx>
        <c:axId val="5339250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529925759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3.02</c:v>
                </c:pt>
                <c:pt idx="5">
                  <c:v>04.02 - 10.02</c:v>
                </c:pt>
                <c:pt idx="6">
                  <c:v>11.02 - 17.02</c:v>
                </c:pt>
                <c:pt idx="7">
                  <c:v>18.02 - 24.02</c:v>
                </c:pt>
                <c:pt idx="8">
                  <c:v>25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34">
                  <c:v>0.1392709</c:v>
                </c:pt>
                <c:pt idx="35">
                  <c:v>0.41781269999999998</c:v>
                </c:pt>
                <c:pt idx="36">
                  <c:v>1.2534381999999999</c:v>
                </c:pt>
                <c:pt idx="37">
                  <c:v>2.9246892</c:v>
                </c:pt>
                <c:pt idx="38">
                  <c:v>7.6599003999999997</c:v>
                </c:pt>
                <c:pt idx="39">
                  <c:v>46.516486100000002</c:v>
                </c:pt>
                <c:pt idx="40">
                  <c:v>85.373071899999999</c:v>
                </c:pt>
                <c:pt idx="41">
                  <c:v>160.57936699999999</c:v>
                </c:pt>
                <c:pt idx="42">
                  <c:v>264.19692900000001</c:v>
                </c:pt>
                <c:pt idx="43">
                  <c:v>248.0415027</c:v>
                </c:pt>
                <c:pt idx="44">
                  <c:v>199.85376550000001</c:v>
                </c:pt>
                <c:pt idx="45">
                  <c:v>145.39883699999999</c:v>
                </c:pt>
                <c:pt idx="46">
                  <c:v>99.996518199999997</c:v>
                </c:pt>
                <c:pt idx="47">
                  <c:v>64.900247199999995</c:v>
                </c:pt>
                <c:pt idx="48">
                  <c:v>66.850040000000007</c:v>
                </c:pt>
                <c:pt idx="49">
                  <c:v>61.418474199999999</c:v>
                </c:pt>
                <c:pt idx="50">
                  <c:v>78.270255199999994</c:v>
                </c:pt>
                <c:pt idx="51">
                  <c:v>88.158490299999997</c:v>
                </c:pt>
                <c:pt idx="52">
                  <c:v>97.9770898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A5E-407A-AC1D-1838C2884016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3.02</c:v>
                </c:pt>
                <c:pt idx="5">
                  <c:v>04.02 - 10.02</c:v>
                </c:pt>
                <c:pt idx="6">
                  <c:v>11.02 - 17.02</c:v>
                </c:pt>
                <c:pt idx="7">
                  <c:v>18.02 - 24.02</c:v>
                </c:pt>
                <c:pt idx="8">
                  <c:v>25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106.8207931</c:v>
                </c:pt>
                <c:pt idx="1">
                  <c:v>96.654016200000001</c:v>
                </c:pt>
                <c:pt idx="2">
                  <c:v>63.925350700000003</c:v>
                </c:pt>
                <c:pt idx="3">
                  <c:v>52.505135600000003</c:v>
                </c:pt>
                <c:pt idx="4">
                  <c:v>48.094889899999998</c:v>
                </c:pt>
                <c:pt idx="5">
                  <c:v>34.817729100000001</c:v>
                </c:pt>
                <c:pt idx="6">
                  <c:v>33.146478100000003</c:v>
                </c:pt>
                <c:pt idx="7">
                  <c:v>34.260645500000003</c:v>
                </c:pt>
                <c:pt idx="8">
                  <c:v>34.399916400000002</c:v>
                </c:pt>
                <c:pt idx="9">
                  <c:v>31.475227100000001</c:v>
                </c:pt>
                <c:pt idx="10">
                  <c:v>21.308450199999999</c:v>
                </c:pt>
                <c:pt idx="11">
                  <c:v>14.6234462</c:v>
                </c:pt>
                <c:pt idx="12">
                  <c:v>10.584589599999999</c:v>
                </c:pt>
                <c:pt idx="13">
                  <c:v>8.9133385999999994</c:v>
                </c:pt>
                <c:pt idx="14">
                  <c:v>6.8242748999999998</c:v>
                </c:pt>
                <c:pt idx="15">
                  <c:v>4.4566692999999997</c:v>
                </c:pt>
                <c:pt idx="16">
                  <c:v>3.6210437999999998</c:v>
                </c:pt>
                <c:pt idx="17">
                  <c:v>1.8105218999999999</c:v>
                </c:pt>
                <c:pt idx="18">
                  <c:v>1.9497928</c:v>
                </c:pt>
                <c:pt idx="19">
                  <c:v>2.0890637000000001</c:v>
                </c:pt>
                <c:pt idx="20">
                  <c:v>1.1141673000000001</c:v>
                </c:pt>
                <c:pt idx="21">
                  <c:v>0.1392709</c:v>
                </c:pt>
                <c:pt idx="22">
                  <c:v>0.1392709</c:v>
                </c:pt>
                <c:pt idx="23">
                  <c:v>0</c:v>
                </c:pt>
                <c:pt idx="24">
                  <c:v>0</c:v>
                </c:pt>
                <c:pt idx="25">
                  <c:v>0.1392709</c:v>
                </c:pt>
                <c:pt idx="26">
                  <c:v>0</c:v>
                </c:pt>
                <c:pt idx="27">
                  <c:v>0.1392709</c:v>
                </c:pt>
                <c:pt idx="28">
                  <c:v>0.1392709</c:v>
                </c:pt>
                <c:pt idx="29">
                  <c:v>0.41781269999999998</c:v>
                </c:pt>
                <c:pt idx="30">
                  <c:v>0</c:v>
                </c:pt>
                <c:pt idx="31">
                  <c:v>0.27854180000000001</c:v>
                </c:pt>
                <c:pt idx="32">
                  <c:v>0</c:v>
                </c:pt>
                <c:pt idx="33">
                  <c:v>0.1392709</c:v>
                </c:pt>
                <c:pt idx="34">
                  <c:v>0.9748964</c:v>
                </c:pt>
                <c:pt idx="35">
                  <c:v>0.83562550000000002</c:v>
                </c:pt>
                <c:pt idx="36">
                  <c:v>0.41781269999999998</c:v>
                </c:pt>
                <c:pt idx="37">
                  <c:v>1.5319799999999999</c:v>
                </c:pt>
                <c:pt idx="38">
                  <c:v>2.2283346000000002</c:v>
                </c:pt>
                <c:pt idx="39">
                  <c:v>2.0890637000000001</c:v>
                </c:pt>
                <c:pt idx="40">
                  <c:v>1.3927091</c:v>
                </c:pt>
                <c:pt idx="41">
                  <c:v>5.9886493999999999</c:v>
                </c:pt>
                <c:pt idx="42">
                  <c:v>8.6347968000000002</c:v>
                </c:pt>
                <c:pt idx="43">
                  <c:v>14.6234462</c:v>
                </c:pt>
                <c:pt idx="44">
                  <c:v>24.650952199999999</c:v>
                </c:pt>
                <c:pt idx="45">
                  <c:v>28.968350600000001</c:v>
                </c:pt>
                <c:pt idx="46">
                  <c:v>37.881689299999998</c:v>
                </c:pt>
                <c:pt idx="47">
                  <c:v>36.0711674</c:v>
                </c:pt>
                <c:pt idx="48">
                  <c:v>28.968350600000001</c:v>
                </c:pt>
                <c:pt idx="49">
                  <c:v>22.144075699999998</c:v>
                </c:pt>
                <c:pt idx="50">
                  <c:v>13.0914661</c:v>
                </c:pt>
                <c:pt idx="51">
                  <c:v>7.5206295000000001</c:v>
                </c:pt>
                <c:pt idx="52">
                  <c:v>7.31172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A5E-407A-AC1D-1838C2884016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3.02</c:v>
                </c:pt>
                <c:pt idx="5">
                  <c:v>04.02 - 10.02</c:v>
                </c:pt>
                <c:pt idx="6">
                  <c:v>11.02 - 17.02</c:v>
                </c:pt>
                <c:pt idx="7">
                  <c:v>18.02 - 24.02</c:v>
                </c:pt>
                <c:pt idx="8">
                  <c:v>25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8.4955259000000005</c:v>
                </c:pt>
                <c:pt idx="1">
                  <c:v>9.3311513999999995</c:v>
                </c:pt>
                <c:pt idx="2">
                  <c:v>32.310852599999997</c:v>
                </c:pt>
                <c:pt idx="3">
                  <c:v>61.836286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A5E-407A-AC1D-1838C28840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3305263600732"/>
          <c:y val="0.15289779551144775"/>
          <c:w val="0.79684300815915377"/>
          <c:h val="0.8041653594074434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 posilujíc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B$2:$B$12</c:f>
              <c:numCache>
                <c:formatCode>General</c:formatCode>
                <c:ptCount val="11"/>
                <c:pt idx="0">
                  <c:v>72.803240000000002</c:v>
                </c:pt>
                <c:pt idx="1">
                  <c:v>58.648000000000003</c:v>
                </c:pt>
                <c:pt idx="2">
                  <c:v>53.552889999999998</c:v>
                </c:pt>
                <c:pt idx="3">
                  <c:v>53.49342</c:v>
                </c:pt>
                <c:pt idx="4">
                  <c:v>50.800629999999998</c:v>
                </c:pt>
                <c:pt idx="5">
                  <c:v>53.63165</c:v>
                </c:pt>
                <c:pt idx="6">
                  <c:v>64.266840000000002</c:v>
                </c:pt>
                <c:pt idx="7">
                  <c:v>48.66086</c:v>
                </c:pt>
                <c:pt idx="8">
                  <c:v>55.063980000000001</c:v>
                </c:pt>
                <c:pt idx="9">
                  <c:v>53.805909999999997</c:v>
                </c:pt>
                <c:pt idx="10">
                  <c:v>59.72361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DA-4934-90AD-68162997E19E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S ukončovací dávkou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C$2:$C$12</c:f>
              <c:numCache>
                <c:formatCode>General</c:formatCode>
                <c:ptCount val="11"/>
                <c:pt idx="0">
                  <c:v>14.862410000000001</c:v>
                </c:pt>
                <c:pt idx="1">
                  <c:v>24.333310000000001</c:v>
                </c:pt>
                <c:pt idx="2">
                  <c:v>26.742930000000001</c:v>
                </c:pt>
                <c:pt idx="3">
                  <c:v>25.38505</c:v>
                </c:pt>
                <c:pt idx="4">
                  <c:v>28.259720000000002</c:v>
                </c:pt>
                <c:pt idx="5">
                  <c:v>27.718900000000001</c:v>
                </c:pt>
                <c:pt idx="6">
                  <c:v>21.75253</c:v>
                </c:pt>
                <c:pt idx="7">
                  <c:v>26.965689999999999</c:v>
                </c:pt>
                <c:pt idx="8">
                  <c:v>26.824120000000001</c:v>
                </c:pt>
                <c:pt idx="9">
                  <c:v>26.912379999999999</c:v>
                </c:pt>
                <c:pt idx="10">
                  <c:v>23.24403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7DA-4934-90AD-68162997E19E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Pouze s 1. dávkou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D$2:$D$12</c:f>
              <c:numCache>
                <c:formatCode>General</c:formatCode>
                <c:ptCount val="11"/>
                <c:pt idx="0">
                  <c:v>0.47425089999999998</c:v>
                </c:pt>
                <c:pt idx="1">
                  <c:v>0.89841970000000004</c:v>
                </c:pt>
                <c:pt idx="2">
                  <c:v>0.86281459999999999</c:v>
                </c:pt>
                <c:pt idx="3">
                  <c:v>0.95211429999999997</c:v>
                </c:pt>
                <c:pt idx="4">
                  <c:v>1.3549182</c:v>
                </c:pt>
                <c:pt idx="5">
                  <c:v>0.92821779999999998</c:v>
                </c:pt>
                <c:pt idx="6">
                  <c:v>0.83663580000000004</c:v>
                </c:pt>
                <c:pt idx="7">
                  <c:v>0.78519950000000005</c:v>
                </c:pt>
                <c:pt idx="8">
                  <c:v>0.68744899999999998</c:v>
                </c:pt>
                <c:pt idx="9">
                  <c:v>0.77767830000000004</c:v>
                </c:pt>
                <c:pt idx="10">
                  <c:v>0.7965546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7DA-4934-90AD-68162997E19E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Prodělali onemocnění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E$2:$E$12</c:f>
              <c:numCache>
                <c:formatCode>General</c:formatCode>
                <c:ptCount val="11"/>
                <c:pt idx="0">
                  <c:v>2.7843110000000002</c:v>
                </c:pt>
                <c:pt idx="1">
                  <c:v>8.0572859999999995</c:v>
                </c:pt>
                <c:pt idx="2">
                  <c:v>8.5848980000000008</c:v>
                </c:pt>
                <c:pt idx="3">
                  <c:v>8.2119850000000003</c:v>
                </c:pt>
                <c:pt idx="4">
                  <c:v>10.100300000000001</c:v>
                </c:pt>
                <c:pt idx="5">
                  <c:v>8.5434719999999995</c:v>
                </c:pt>
                <c:pt idx="6">
                  <c:v>5.9225009999999996</c:v>
                </c:pt>
                <c:pt idx="7">
                  <c:v>10.584059999999999</c:v>
                </c:pt>
                <c:pt idx="8">
                  <c:v>8.4059349999999995</c:v>
                </c:pt>
                <c:pt idx="9">
                  <c:v>8.036009</c:v>
                </c:pt>
                <c:pt idx="10">
                  <c:v>7.149797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7DA-4934-90AD-68162997E19E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Ostatní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F$2:$F$12</c:f>
              <c:numCache>
                <c:formatCode>General</c:formatCode>
                <c:ptCount val="11"/>
                <c:pt idx="0">
                  <c:v>9.0757849999999998</c:v>
                </c:pt>
                <c:pt idx="1">
                  <c:v>8.0629840000000002</c:v>
                </c:pt>
                <c:pt idx="2">
                  <c:v>10.25647</c:v>
                </c:pt>
                <c:pt idx="3">
                  <c:v>11.95743</c:v>
                </c:pt>
                <c:pt idx="4">
                  <c:v>9.4844270000000002</c:v>
                </c:pt>
                <c:pt idx="5">
                  <c:v>9.1777540000000002</c:v>
                </c:pt>
                <c:pt idx="6">
                  <c:v>7.2214879999999999</c:v>
                </c:pt>
                <c:pt idx="7">
                  <c:v>13.004189999999999</c:v>
                </c:pt>
                <c:pt idx="8">
                  <c:v>9.0185130000000004</c:v>
                </c:pt>
                <c:pt idx="9">
                  <c:v>10.468019999999999</c:v>
                </c:pt>
                <c:pt idx="10">
                  <c:v>9.086002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7DA-4934-90AD-68162997E1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9492928"/>
        <c:axId val="160289136"/>
      </c:barChart>
      <c:catAx>
        <c:axId val="1594929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noMultiLvlLbl val="0"/>
      </c:catAx>
      <c:valAx>
        <c:axId val="160289136"/>
        <c:scaling>
          <c:orientation val="minMax"/>
          <c:max val="1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1.368428679273505E-2"/>
          <c:y val="5.0081916086988656E-2"/>
          <c:w val="0.98087724341670113"/>
          <c:h val="4.2435842974244235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Liberecký kraj</c:v>
                </c:pt>
                <c:pt idx="2">
                  <c:v>Královéhradecký kraj</c:v>
                </c:pt>
                <c:pt idx="3">
                  <c:v>Kraj Vysočina</c:v>
                </c:pt>
                <c:pt idx="4">
                  <c:v>Středočeský kraj</c:v>
                </c:pt>
                <c:pt idx="5">
                  <c:v>Jihočeský kraj</c:v>
                </c:pt>
                <c:pt idx="6">
                  <c:v>Pardubický kraj</c:v>
                </c:pt>
                <c:pt idx="7">
                  <c:v>Ústecký kraj</c:v>
                </c:pt>
                <c:pt idx="8">
                  <c:v>Hlavní město Praha</c:v>
                </c:pt>
                <c:pt idx="9">
                  <c:v>ČR</c:v>
                </c:pt>
                <c:pt idx="10">
                  <c:v>Olomoucký kraj</c:v>
                </c:pt>
                <c:pt idx="11">
                  <c:v>Zlínský kraj</c:v>
                </c:pt>
                <c:pt idx="12">
                  <c:v>Jihomoravský kraj</c:v>
                </c:pt>
                <c:pt idx="13">
                  <c:v>Karlovarský kraj</c:v>
                </c:pt>
                <c:pt idx="14">
                  <c:v>Moravskoslez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93.544920000000005</c:v>
                </c:pt>
                <c:pt idx="1">
                  <c:v>90.304929999999999</c:v>
                </c:pt>
                <c:pt idx="2">
                  <c:v>90.267269999999996</c:v>
                </c:pt>
                <c:pt idx="3">
                  <c:v>90.045249999999996</c:v>
                </c:pt>
                <c:pt idx="4">
                  <c:v>89.908799999999999</c:v>
                </c:pt>
                <c:pt idx="5">
                  <c:v>89.59845</c:v>
                </c:pt>
                <c:pt idx="6">
                  <c:v>89.267210000000006</c:v>
                </c:pt>
                <c:pt idx="7">
                  <c:v>89.134619999999998</c:v>
                </c:pt>
                <c:pt idx="8">
                  <c:v>88.952569999999994</c:v>
                </c:pt>
                <c:pt idx="9">
                  <c:v>87.968770000000006</c:v>
                </c:pt>
                <c:pt idx="10">
                  <c:v>87.318179999999998</c:v>
                </c:pt>
                <c:pt idx="11">
                  <c:v>85.214010000000002</c:v>
                </c:pt>
                <c:pt idx="12">
                  <c:v>84.966139999999996</c:v>
                </c:pt>
                <c:pt idx="13">
                  <c:v>84.335660000000004</c:v>
                </c:pt>
                <c:pt idx="14">
                  <c:v>84.23457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38-498E-AF17-8F5778D625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in val="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Ústecký kraj</c:v>
                </c:pt>
                <c:pt idx="1">
                  <c:v>Plzeňský kraj</c:v>
                </c:pt>
                <c:pt idx="2">
                  <c:v>Středočeský kraj</c:v>
                </c:pt>
                <c:pt idx="3">
                  <c:v>Kraj Vysočina</c:v>
                </c:pt>
                <c:pt idx="4">
                  <c:v>Královéhradecký kraj</c:v>
                </c:pt>
                <c:pt idx="5">
                  <c:v>Hlavní město Praha</c:v>
                </c:pt>
                <c:pt idx="6">
                  <c:v>Karlovarský kraj</c:v>
                </c:pt>
                <c:pt idx="7">
                  <c:v>Jihočeský kraj</c:v>
                </c:pt>
                <c:pt idx="8">
                  <c:v>Liberecký kraj</c:v>
                </c:pt>
                <c:pt idx="9">
                  <c:v>ČR</c:v>
                </c:pt>
                <c:pt idx="10">
                  <c:v>Jihomoravský kraj</c:v>
                </c:pt>
                <c:pt idx="11">
                  <c:v>Pardubický kraj</c:v>
                </c:pt>
                <c:pt idx="12">
                  <c:v>Zlínský kraj</c:v>
                </c:pt>
                <c:pt idx="13">
                  <c:v>Moravskoslez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88.582939999999994</c:v>
                </c:pt>
                <c:pt idx="1">
                  <c:v>88.256619999999998</c:v>
                </c:pt>
                <c:pt idx="2">
                  <c:v>87.73169</c:v>
                </c:pt>
                <c:pt idx="3">
                  <c:v>87.435900000000004</c:v>
                </c:pt>
                <c:pt idx="4">
                  <c:v>86.321960000000004</c:v>
                </c:pt>
                <c:pt idx="5">
                  <c:v>86.252790000000005</c:v>
                </c:pt>
                <c:pt idx="6">
                  <c:v>85.044799999999995</c:v>
                </c:pt>
                <c:pt idx="7">
                  <c:v>84.691490000000002</c:v>
                </c:pt>
                <c:pt idx="8">
                  <c:v>84.333100000000002</c:v>
                </c:pt>
                <c:pt idx="9">
                  <c:v>84.152450000000002</c:v>
                </c:pt>
                <c:pt idx="10">
                  <c:v>83.31241</c:v>
                </c:pt>
                <c:pt idx="11">
                  <c:v>81.353489999999994</c:v>
                </c:pt>
                <c:pt idx="12">
                  <c:v>79.278229999999994</c:v>
                </c:pt>
                <c:pt idx="13">
                  <c:v>79.163709999999995</c:v>
                </c:pt>
                <c:pt idx="14">
                  <c:v>77.81320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40-47DE-ACA1-8E4053576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ax val="10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7</c:f>
              <c:strCache>
                <c:ptCount val="36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9 Zdravotní laborant</c:v>
                </c:pt>
                <c:pt idx="4">
                  <c:v>§ 19 Farmaceutický asistent</c:v>
                </c:pt>
                <c:pt idx="5">
                  <c:v>§ 36 Ošetřovatel</c:v>
                </c:pt>
                <c:pt idx="6">
                  <c:v>§ 18 Zdravotnický záchranář</c:v>
                </c:pt>
                <c:pt idx="7">
                  <c:v>§ 39 Zubní instrumentářka</c:v>
                </c:pt>
                <c:pt idx="8">
                  <c:v>§ 8 Radiologický asistent</c:v>
                </c:pt>
                <c:pt idx="9">
                  <c:v>§ 26 Odborný pracovník v laboratorních metodách a v přípravě léčivých přípravků</c:v>
                </c:pt>
                <c:pt idx="10">
                  <c:v>§ 16 Zubní technik</c:v>
                </c:pt>
                <c:pt idx="11">
                  <c:v>§ 40 Řidič zdravotnické dopravní služby</c:v>
                </c:pt>
                <c:pt idx="12">
                  <c:v>§ 35 Řidič vozidla zdravotnické záchranné služby</c:v>
                </c:pt>
                <c:pt idx="13">
                  <c:v>§ 17 Dentální hygienistka</c:v>
                </c:pt>
                <c:pt idx="14">
                  <c:v>§ 22 Psycholog ve zdravotnictví</c:v>
                </c:pt>
                <c:pt idx="15">
                  <c:v>§ 37 Masér ve zdravotnictví, nevidomý a slabozraký masér ve zdravotnictví</c:v>
                </c:pt>
                <c:pt idx="16">
                  <c:v>§ 15 Nutriční terapeut</c:v>
                </c:pt>
                <c:pt idx="17">
                  <c:v>§ 7 Ergoterapeut</c:v>
                </c:pt>
                <c:pt idx="18">
                  <c:v>§ 11 Optometrista</c:v>
                </c:pt>
                <c:pt idx="19">
                  <c:v>§ 10 Zdravotně-sociální pracovník</c:v>
                </c:pt>
                <c:pt idx="20">
                  <c:v>§ 23 Logoped ve zdravotnictví</c:v>
                </c:pt>
                <c:pt idx="21">
                  <c:v>§ 30 Laboratorní asistent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21a Adiktolog</c:v>
                </c:pt>
                <c:pt idx="25">
                  <c:v>§ 28 Odborný pracovník v ochraně a podpoře veřejného zdraví</c:v>
                </c:pt>
                <c:pt idx="26">
                  <c:v>§ 13 Asistent ochrany a podpory veřejného zdraví</c:v>
                </c:pt>
                <c:pt idx="27">
                  <c:v>§ 25 Radiologický fyzik</c:v>
                </c:pt>
                <c:pt idx="28">
                  <c:v>§ 14 Ortotik-protetik</c:v>
                </c:pt>
                <c:pt idx="29">
                  <c:v>§ 20 Biomedicínský technik</c:v>
                </c:pt>
                <c:pt idx="30">
                  <c:v>§ 12 Ortoptista</c:v>
                </c:pt>
                <c:pt idx="31">
                  <c:v>§ 31 Ortoticko-protetický technik</c:v>
                </c:pt>
                <c:pt idx="32">
                  <c:v>§ 32 Nutriční asistent</c:v>
                </c:pt>
                <c:pt idx="33">
                  <c:v>§ 41 Autoptický laborant</c:v>
                </c:pt>
                <c:pt idx="34">
                  <c:v>§ 21 Radiologický technik</c:v>
                </c:pt>
                <c:pt idx="35">
                  <c:v>§ 23a Zrakový terapeut</c:v>
                </c:pt>
              </c:strCache>
            </c:strRef>
          </c:cat>
          <c:val>
            <c:numRef>
              <c:f>List1!$B$2:$B$37</c:f>
              <c:numCache>
                <c:formatCode>General</c:formatCode>
                <c:ptCount val="36"/>
                <c:pt idx="0">
                  <c:v>4376</c:v>
                </c:pt>
                <c:pt idx="1">
                  <c:v>2175</c:v>
                </c:pt>
                <c:pt idx="2">
                  <c:v>1753</c:v>
                </c:pt>
                <c:pt idx="3">
                  <c:v>1540</c:v>
                </c:pt>
                <c:pt idx="4">
                  <c:v>1397</c:v>
                </c:pt>
                <c:pt idx="5">
                  <c:v>974</c:v>
                </c:pt>
                <c:pt idx="6">
                  <c:v>800</c:v>
                </c:pt>
                <c:pt idx="7">
                  <c:v>795</c:v>
                </c:pt>
                <c:pt idx="8">
                  <c:v>615</c:v>
                </c:pt>
                <c:pt idx="9">
                  <c:v>607</c:v>
                </c:pt>
                <c:pt idx="10">
                  <c:v>568</c:v>
                </c:pt>
                <c:pt idx="11">
                  <c:v>429</c:v>
                </c:pt>
                <c:pt idx="12">
                  <c:v>327</c:v>
                </c:pt>
                <c:pt idx="13">
                  <c:v>313</c:v>
                </c:pt>
                <c:pt idx="14">
                  <c:v>309</c:v>
                </c:pt>
                <c:pt idx="15">
                  <c:v>230</c:v>
                </c:pt>
                <c:pt idx="16">
                  <c:v>185</c:v>
                </c:pt>
                <c:pt idx="17">
                  <c:v>184</c:v>
                </c:pt>
                <c:pt idx="18">
                  <c:v>179</c:v>
                </c:pt>
                <c:pt idx="19">
                  <c:v>171</c:v>
                </c:pt>
                <c:pt idx="20">
                  <c:v>156</c:v>
                </c:pt>
                <c:pt idx="21">
                  <c:v>145</c:v>
                </c:pt>
                <c:pt idx="22">
                  <c:v>89</c:v>
                </c:pt>
                <c:pt idx="23">
                  <c:v>56</c:v>
                </c:pt>
                <c:pt idx="24">
                  <c:v>42</c:v>
                </c:pt>
                <c:pt idx="25">
                  <c:v>40</c:v>
                </c:pt>
                <c:pt idx="26">
                  <c:v>28</c:v>
                </c:pt>
                <c:pt idx="27">
                  <c:v>24</c:v>
                </c:pt>
                <c:pt idx="28">
                  <c:v>22</c:v>
                </c:pt>
                <c:pt idx="29">
                  <c:v>17</c:v>
                </c:pt>
                <c:pt idx="30">
                  <c:v>14</c:v>
                </c:pt>
                <c:pt idx="31">
                  <c:v>10</c:v>
                </c:pt>
                <c:pt idx="32">
                  <c:v>8</c:v>
                </c:pt>
                <c:pt idx="33">
                  <c:v>5</c:v>
                </c:pt>
                <c:pt idx="34">
                  <c:v>3</c:v>
                </c:pt>
                <c:pt idx="3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7</c:f>
              <c:strCache>
                <c:ptCount val="36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9 Zdravotní laborant</c:v>
                </c:pt>
                <c:pt idx="4">
                  <c:v>§ 19 Farmaceutický asistent</c:v>
                </c:pt>
                <c:pt idx="5">
                  <c:v>§ 39 Zubní instrumentářka</c:v>
                </c:pt>
                <c:pt idx="6">
                  <c:v>§ 36 Ošetřovatel</c:v>
                </c:pt>
                <c:pt idx="7">
                  <c:v>§ 18 Zdravotnický záchranář</c:v>
                </c:pt>
                <c:pt idx="8">
                  <c:v>§ 26 Odborný pracovník v laboratorních metodách a v přípravě léčivých přípravků</c:v>
                </c:pt>
                <c:pt idx="9">
                  <c:v>§ 8 Radiologický asistent</c:v>
                </c:pt>
                <c:pt idx="10">
                  <c:v>§ 16 Zubní technik</c:v>
                </c:pt>
                <c:pt idx="11">
                  <c:v>§ 40 Řidič zdravotnické dopravní služby</c:v>
                </c:pt>
                <c:pt idx="12">
                  <c:v>§ 22 Psycholog ve zdravotnictví</c:v>
                </c:pt>
                <c:pt idx="13">
                  <c:v>§ 17 Dentální hygienistka</c:v>
                </c:pt>
                <c:pt idx="14">
                  <c:v>§ 35 Řidič vozidla zdravotnické záchranné služby</c:v>
                </c:pt>
                <c:pt idx="15">
                  <c:v>§ 37 Masér ve zdravotnictví, nevidomý a slabozraký masér ve zdravotnictví</c:v>
                </c:pt>
                <c:pt idx="16">
                  <c:v>§ 7 Ergoterapeut</c:v>
                </c:pt>
                <c:pt idx="17">
                  <c:v>§ 15 Nutriční terapeut</c:v>
                </c:pt>
                <c:pt idx="18">
                  <c:v>§ 23 Logoped ve zdravotnictví</c:v>
                </c:pt>
                <c:pt idx="19">
                  <c:v>§ 11 Optometrista</c:v>
                </c:pt>
                <c:pt idx="20">
                  <c:v>§ 10 Zdravotně-sociální pracovník</c:v>
                </c:pt>
                <c:pt idx="21">
                  <c:v>§ 30 Laboratorní asistent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21a Adiktolog</c:v>
                </c:pt>
                <c:pt idx="25">
                  <c:v>§ 28 Odborný pracovník v ochraně a podpoře veřejného zdraví</c:v>
                </c:pt>
                <c:pt idx="26">
                  <c:v>§ 25 Radiologický fyzik</c:v>
                </c:pt>
                <c:pt idx="27">
                  <c:v>§ 13 Asistent ochrany a podpory veřejného zdraví</c:v>
                </c:pt>
                <c:pt idx="28">
                  <c:v>§ 14 Ortotik-protetik</c:v>
                </c:pt>
                <c:pt idx="29">
                  <c:v>§ 12 Ortoptista</c:v>
                </c:pt>
                <c:pt idx="30">
                  <c:v>§ 20 Biomedicínský technik</c:v>
                </c:pt>
                <c:pt idx="31">
                  <c:v>§ 41 Autoptický laborant</c:v>
                </c:pt>
                <c:pt idx="32">
                  <c:v>§ 31 Ortoticko-protetický technik</c:v>
                </c:pt>
                <c:pt idx="33">
                  <c:v>§ 32 Nutriční asistent</c:v>
                </c:pt>
                <c:pt idx="34">
                  <c:v>§ 21 Radiologický technik</c:v>
                </c:pt>
                <c:pt idx="35">
                  <c:v>§ 23a Zrakový terapeut</c:v>
                </c:pt>
              </c:strCache>
            </c:strRef>
          </c:cat>
          <c:val>
            <c:numRef>
              <c:f>List1!$B$2:$B$37</c:f>
              <c:numCache>
                <c:formatCode>General</c:formatCode>
                <c:ptCount val="36"/>
                <c:pt idx="0">
                  <c:v>1989</c:v>
                </c:pt>
                <c:pt idx="1">
                  <c:v>1243</c:v>
                </c:pt>
                <c:pt idx="2">
                  <c:v>973</c:v>
                </c:pt>
                <c:pt idx="3">
                  <c:v>901</c:v>
                </c:pt>
                <c:pt idx="4">
                  <c:v>732</c:v>
                </c:pt>
                <c:pt idx="5">
                  <c:v>445</c:v>
                </c:pt>
                <c:pt idx="6">
                  <c:v>435</c:v>
                </c:pt>
                <c:pt idx="7">
                  <c:v>422</c:v>
                </c:pt>
                <c:pt idx="8">
                  <c:v>375</c:v>
                </c:pt>
                <c:pt idx="9">
                  <c:v>321</c:v>
                </c:pt>
                <c:pt idx="10">
                  <c:v>307</c:v>
                </c:pt>
                <c:pt idx="11">
                  <c:v>207</c:v>
                </c:pt>
                <c:pt idx="12">
                  <c:v>197</c:v>
                </c:pt>
                <c:pt idx="13">
                  <c:v>184</c:v>
                </c:pt>
                <c:pt idx="14">
                  <c:v>147</c:v>
                </c:pt>
                <c:pt idx="15">
                  <c:v>116</c:v>
                </c:pt>
                <c:pt idx="16">
                  <c:v>111</c:v>
                </c:pt>
                <c:pt idx="17">
                  <c:v>103</c:v>
                </c:pt>
                <c:pt idx="18">
                  <c:v>102</c:v>
                </c:pt>
                <c:pt idx="19">
                  <c:v>96</c:v>
                </c:pt>
                <c:pt idx="20">
                  <c:v>90</c:v>
                </c:pt>
                <c:pt idx="21">
                  <c:v>80</c:v>
                </c:pt>
                <c:pt idx="22">
                  <c:v>54</c:v>
                </c:pt>
                <c:pt idx="23">
                  <c:v>32</c:v>
                </c:pt>
                <c:pt idx="24">
                  <c:v>25</c:v>
                </c:pt>
                <c:pt idx="25">
                  <c:v>21</c:v>
                </c:pt>
                <c:pt idx="26">
                  <c:v>18</c:v>
                </c:pt>
                <c:pt idx="27">
                  <c:v>16</c:v>
                </c:pt>
                <c:pt idx="28">
                  <c:v>10</c:v>
                </c:pt>
                <c:pt idx="29">
                  <c:v>9</c:v>
                </c:pt>
                <c:pt idx="30">
                  <c:v>9</c:v>
                </c:pt>
                <c:pt idx="31">
                  <c:v>4</c:v>
                </c:pt>
                <c:pt idx="32">
                  <c:v>3</c:v>
                </c:pt>
                <c:pt idx="33">
                  <c:v>3</c:v>
                </c:pt>
                <c:pt idx="34">
                  <c:v>2</c:v>
                </c:pt>
                <c:pt idx="3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5</c:f>
              <c:strCache>
                <c:ptCount val="34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9 Zdravotní laborant</c:v>
                </c:pt>
                <c:pt idx="4">
                  <c:v>§ 19 Farmaceutický asistent</c:v>
                </c:pt>
                <c:pt idx="5">
                  <c:v>§ 39 Zubní instrumentářka</c:v>
                </c:pt>
                <c:pt idx="6">
                  <c:v>§ 18 Zdravotnický záchranář</c:v>
                </c:pt>
                <c:pt idx="7">
                  <c:v>§ 36 Ošetřovatel</c:v>
                </c:pt>
                <c:pt idx="8">
                  <c:v>§ 26 Odborný pracovník v laboratorních metodách a v přípravě léčivých přípravků</c:v>
                </c:pt>
                <c:pt idx="9">
                  <c:v>§ 8 Radiologický asistent</c:v>
                </c:pt>
                <c:pt idx="10">
                  <c:v>§ 16 Zubní technik</c:v>
                </c:pt>
                <c:pt idx="11">
                  <c:v>§ 22 Psycholog ve zdravotnictví</c:v>
                </c:pt>
                <c:pt idx="12">
                  <c:v>§ 17 Dentální hygienistka</c:v>
                </c:pt>
                <c:pt idx="13">
                  <c:v>§ 40 Řidič zdravotnické dopravní služby</c:v>
                </c:pt>
                <c:pt idx="14">
                  <c:v>§ 35 Řidič vozidla zdravotnické záchranné služby</c:v>
                </c:pt>
                <c:pt idx="15">
                  <c:v>§ 7 Ergoterapeut</c:v>
                </c:pt>
                <c:pt idx="16">
                  <c:v>§ 10 Zdravotně-sociální pracovník</c:v>
                </c:pt>
                <c:pt idx="17">
                  <c:v>§ 30 Laboratorní asistent</c:v>
                </c:pt>
                <c:pt idx="18">
                  <c:v>§ 11 Optometrista</c:v>
                </c:pt>
                <c:pt idx="19">
                  <c:v>§ 37 Masér ve zdravotnictví, nevidomý a slabozraký masér ve zdravotnictví</c:v>
                </c:pt>
                <c:pt idx="20">
                  <c:v>§ 23 Logoped ve zdravotnictví</c:v>
                </c:pt>
                <c:pt idx="21">
                  <c:v>§ 15 Nutriční terapeut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21a Adiktolog</c:v>
                </c:pt>
                <c:pt idx="25">
                  <c:v>§ 28 Odborný pracovník v ochraně a podpoře veřejného zdraví</c:v>
                </c:pt>
                <c:pt idx="26">
                  <c:v>§ 13 Asistent ochrany a podpory veřejného zdraví</c:v>
                </c:pt>
                <c:pt idx="27">
                  <c:v>§ 25 Radiologický fyzik</c:v>
                </c:pt>
                <c:pt idx="28">
                  <c:v>§ 12 Ortoptista</c:v>
                </c:pt>
                <c:pt idx="29">
                  <c:v>§ 14 Ortotik-protetik</c:v>
                </c:pt>
                <c:pt idx="30">
                  <c:v>§ 20 Biomedicínský technik</c:v>
                </c:pt>
                <c:pt idx="31">
                  <c:v>§ 31 Ortoticko-protetický technik</c:v>
                </c:pt>
                <c:pt idx="32">
                  <c:v>§ 21 Radiologický technik</c:v>
                </c:pt>
                <c:pt idx="33">
                  <c:v>§ 41 Autoptický laborant</c:v>
                </c:pt>
              </c:strCache>
            </c:strRef>
          </c:cat>
          <c:val>
            <c:numRef>
              <c:f>List1!$B$2:$B$35</c:f>
              <c:numCache>
                <c:formatCode>General</c:formatCode>
                <c:ptCount val="34"/>
                <c:pt idx="0">
                  <c:v>716</c:v>
                </c:pt>
                <c:pt idx="1">
                  <c:v>508</c:v>
                </c:pt>
                <c:pt idx="2">
                  <c:v>355</c:v>
                </c:pt>
                <c:pt idx="3">
                  <c:v>335</c:v>
                </c:pt>
                <c:pt idx="4">
                  <c:v>247</c:v>
                </c:pt>
                <c:pt idx="5">
                  <c:v>178</c:v>
                </c:pt>
                <c:pt idx="6">
                  <c:v>172</c:v>
                </c:pt>
                <c:pt idx="7">
                  <c:v>140</c:v>
                </c:pt>
                <c:pt idx="8">
                  <c:v>138</c:v>
                </c:pt>
                <c:pt idx="9">
                  <c:v>127</c:v>
                </c:pt>
                <c:pt idx="10">
                  <c:v>125</c:v>
                </c:pt>
                <c:pt idx="11">
                  <c:v>95</c:v>
                </c:pt>
                <c:pt idx="12">
                  <c:v>87</c:v>
                </c:pt>
                <c:pt idx="13">
                  <c:v>79</c:v>
                </c:pt>
                <c:pt idx="14">
                  <c:v>55</c:v>
                </c:pt>
                <c:pt idx="15">
                  <c:v>49</c:v>
                </c:pt>
                <c:pt idx="16">
                  <c:v>37</c:v>
                </c:pt>
                <c:pt idx="17">
                  <c:v>36</c:v>
                </c:pt>
                <c:pt idx="18">
                  <c:v>34</c:v>
                </c:pt>
                <c:pt idx="19">
                  <c:v>34</c:v>
                </c:pt>
                <c:pt idx="20">
                  <c:v>33</c:v>
                </c:pt>
                <c:pt idx="21">
                  <c:v>31</c:v>
                </c:pt>
                <c:pt idx="22">
                  <c:v>23</c:v>
                </c:pt>
                <c:pt idx="23">
                  <c:v>12</c:v>
                </c:pt>
                <c:pt idx="24">
                  <c:v>9</c:v>
                </c:pt>
                <c:pt idx="25">
                  <c:v>8</c:v>
                </c:pt>
                <c:pt idx="26">
                  <c:v>7</c:v>
                </c:pt>
                <c:pt idx="27">
                  <c:v>6</c:v>
                </c:pt>
                <c:pt idx="28">
                  <c:v>4</c:v>
                </c:pt>
                <c:pt idx="29">
                  <c:v>4</c:v>
                </c:pt>
                <c:pt idx="30">
                  <c:v>3</c:v>
                </c:pt>
                <c:pt idx="31">
                  <c:v>2</c:v>
                </c:pt>
                <c:pt idx="32">
                  <c:v>1</c:v>
                </c:pt>
                <c:pt idx="3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5491925027349E-2"/>
          <c:y val="2.8733097084892491E-2"/>
          <c:w val="0.69322079746689458"/>
          <c:h val="0.83918438300516462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6350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9.325113282687688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4472C4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4.114706235985942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4472C4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30.07.21</c:v>
                </c:pt>
                <c:pt idx="1">
                  <c:v>31.07.21</c:v>
                </c:pt>
                <c:pt idx="2">
                  <c:v>01.08.21</c:v>
                </c:pt>
                <c:pt idx="3">
                  <c:v>02.08.21</c:v>
                </c:pt>
                <c:pt idx="4">
                  <c:v>03.08.21</c:v>
                </c:pt>
                <c:pt idx="5">
                  <c:v>04.08.21</c:v>
                </c:pt>
                <c:pt idx="6">
                  <c:v>05.08.21</c:v>
                </c:pt>
                <c:pt idx="7">
                  <c:v>06.08.21</c:v>
                </c:pt>
                <c:pt idx="8">
                  <c:v>07.08.21</c:v>
                </c:pt>
                <c:pt idx="9">
                  <c:v>08.08.21</c:v>
                </c:pt>
                <c:pt idx="10">
                  <c:v>09.08.21</c:v>
                </c:pt>
                <c:pt idx="11">
                  <c:v>10.08.21</c:v>
                </c:pt>
                <c:pt idx="12">
                  <c:v>11.08.21</c:v>
                </c:pt>
                <c:pt idx="13">
                  <c:v>12.08.21</c:v>
                </c:pt>
                <c:pt idx="14">
                  <c:v>13.08.21</c:v>
                </c:pt>
                <c:pt idx="15">
                  <c:v>14.08.21</c:v>
                </c:pt>
                <c:pt idx="16">
                  <c:v>15.08.21</c:v>
                </c:pt>
                <c:pt idx="17">
                  <c:v>16.08.21</c:v>
                </c:pt>
                <c:pt idx="18">
                  <c:v>17.08.21</c:v>
                </c:pt>
                <c:pt idx="19">
                  <c:v>18.08.21</c:v>
                </c:pt>
                <c:pt idx="20">
                  <c:v>19.08.21</c:v>
                </c:pt>
                <c:pt idx="21">
                  <c:v>20.08.21</c:v>
                </c:pt>
                <c:pt idx="22">
                  <c:v>21.08.21</c:v>
                </c:pt>
                <c:pt idx="23">
                  <c:v>22.08.21</c:v>
                </c:pt>
                <c:pt idx="24">
                  <c:v>23.08.21</c:v>
                </c:pt>
                <c:pt idx="25">
                  <c:v>24.08.21</c:v>
                </c:pt>
                <c:pt idx="26">
                  <c:v>25.08.21</c:v>
                </c:pt>
                <c:pt idx="27">
                  <c:v>26.08.21</c:v>
                </c:pt>
                <c:pt idx="28">
                  <c:v>27.08.21</c:v>
                </c:pt>
                <c:pt idx="29">
                  <c:v>28.08.21</c:v>
                </c:pt>
                <c:pt idx="30">
                  <c:v>29.08.21</c:v>
                </c:pt>
                <c:pt idx="31">
                  <c:v>30.08.21</c:v>
                </c:pt>
                <c:pt idx="32">
                  <c:v>31.08.21</c:v>
                </c:pt>
                <c:pt idx="33">
                  <c:v>01.09.21</c:v>
                </c:pt>
                <c:pt idx="34">
                  <c:v>02.09.21</c:v>
                </c:pt>
                <c:pt idx="35">
                  <c:v>03.09.21</c:v>
                </c:pt>
                <c:pt idx="36">
                  <c:v>04.09.21</c:v>
                </c:pt>
                <c:pt idx="37">
                  <c:v>05.09.21</c:v>
                </c:pt>
                <c:pt idx="38">
                  <c:v>06.09.21</c:v>
                </c:pt>
                <c:pt idx="39">
                  <c:v>07.09.21</c:v>
                </c:pt>
                <c:pt idx="40">
                  <c:v>08.09.21</c:v>
                </c:pt>
                <c:pt idx="41">
                  <c:v>09.09.21</c:v>
                </c:pt>
                <c:pt idx="42">
                  <c:v>10.09.21</c:v>
                </c:pt>
                <c:pt idx="43">
                  <c:v>11.09.21</c:v>
                </c:pt>
                <c:pt idx="44">
                  <c:v>12.09.21</c:v>
                </c:pt>
                <c:pt idx="45">
                  <c:v>13.09.21</c:v>
                </c:pt>
                <c:pt idx="46">
                  <c:v>14.09.21</c:v>
                </c:pt>
                <c:pt idx="47">
                  <c:v>15.09.21</c:v>
                </c:pt>
                <c:pt idx="48">
                  <c:v>16.09.21</c:v>
                </c:pt>
                <c:pt idx="49">
                  <c:v>17.09.21</c:v>
                </c:pt>
                <c:pt idx="50">
                  <c:v>18.09.21</c:v>
                </c:pt>
                <c:pt idx="51">
                  <c:v>19.09.21</c:v>
                </c:pt>
                <c:pt idx="52">
                  <c:v>20.09.21</c:v>
                </c:pt>
                <c:pt idx="53">
                  <c:v>21.09.21</c:v>
                </c:pt>
                <c:pt idx="54">
                  <c:v>22.09.21</c:v>
                </c:pt>
                <c:pt idx="55">
                  <c:v>23.09.21</c:v>
                </c:pt>
                <c:pt idx="56">
                  <c:v>24.09.21</c:v>
                </c:pt>
                <c:pt idx="57">
                  <c:v>25.09.21</c:v>
                </c:pt>
                <c:pt idx="58">
                  <c:v>26.09.21</c:v>
                </c:pt>
                <c:pt idx="59">
                  <c:v>27.09.21</c:v>
                </c:pt>
                <c:pt idx="60">
                  <c:v>28.09.21</c:v>
                </c:pt>
                <c:pt idx="61">
                  <c:v>29.09.21</c:v>
                </c:pt>
                <c:pt idx="62">
                  <c:v>30.09.21</c:v>
                </c:pt>
                <c:pt idx="63">
                  <c:v>01.10.21</c:v>
                </c:pt>
                <c:pt idx="64">
                  <c:v>02.10.21</c:v>
                </c:pt>
                <c:pt idx="65">
                  <c:v>03.10.21</c:v>
                </c:pt>
                <c:pt idx="66">
                  <c:v>04.10.21</c:v>
                </c:pt>
                <c:pt idx="67">
                  <c:v>05.10.21</c:v>
                </c:pt>
                <c:pt idx="68">
                  <c:v>06.10.21</c:v>
                </c:pt>
                <c:pt idx="69">
                  <c:v>07.10.21</c:v>
                </c:pt>
                <c:pt idx="70">
                  <c:v>08.10.21</c:v>
                </c:pt>
                <c:pt idx="71">
                  <c:v>09.10.21</c:v>
                </c:pt>
                <c:pt idx="72">
                  <c:v>10.10.21</c:v>
                </c:pt>
                <c:pt idx="73">
                  <c:v>11.10.21</c:v>
                </c:pt>
                <c:pt idx="74">
                  <c:v>12.10.21</c:v>
                </c:pt>
                <c:pt idx="75">
                  <c:v>13.10.21</c:v>
                </c:pt>
                <c:pt idx="76">
                  <c:v>14.10.21</c:v>
                </c:pt>
                <c:pt idx="77">
                  <c:v>15.10.21</c:v>
                </c:pt>
                <c:pt idx="78">
                  <c:v>16.10.21</c:v>
                </c:pt>
                <c:pt idx="79">
                  <c:v>17.10.21</c:v>
                </c:pt>
                <c:pt idx="80">
                  <c:v>18.10.21</c:v>
                </c:pt>
                <c:pt idx="81">
                  <c:v>19.10.21</c:v>
                </c:pt>
                <c:pt idx="82">
                  <c:v>20.10.21</c:v>
                </c:pt>
                <c:pt idx="83">
                  <c:v>21.10.21</c:v>
                </c:pt>
                <c:pt idx="84">
                  <c:v>22.10.21</c:v>
                </c:pt>
                <c:pt idx="85">
                  <c:v>23.10.21</c:v>
                </c:pt>
                <c:pt idx="86">
                  <c:v>24.10.21</c:v>
                </c:pt>
                <c:pt idx="87">
                  <c:v>25.10.21</c:v>
                </c:pt>
                <c:pt idx="88">
                  <c:v>26.10.21</c:v>
                </c:pt>
                <c:pt idx="89">
                  <c:v>27.10.21</c:v>
                </c:pt>
                <c:pt idx="90">
                  <c:v>28.10.21</c:v>
                </c:pt>
                <c:pt idx="91">
                  <c:v>29.10.21</c:v>
                </c:pt>
                <c:pt idx="92">
                  <c:v>30.10.21</c:v>
                </c:pt>
                <c:pt idx="93">
                  <c:v>31.10.21</c:v>
                </c:pt>
                <c:pt idx="94">
                  <c:v>01.11.21</c:v>
                </c:pt>
                <c:pt idx="95">
                  <c:v>02.11.21</c:v>
                </c:pt>
                <c:pt idx="96">
                  <c:v>03.11.21</c:v>
                </c:pt>
                <c:pt idx="97">
                  <c:v>04.11.21</c:v>
                </c:pt>
                <c:pt idx="98">
                  <c:v>05.11.21</c:v>
                </c:pt>
                <c:pt idx="99">
                  <c:v>06.11.21</c:v>
                </c:pt>
                <c:pt idx="100">
                  <c:v>07.11.21</c:v>
                </c:pt>
                <c:pt idx="101">
                  <c:v>08.11.21</c:v>
                </c:pt>
                <c:pt idx="102">
                  <c:v>09.11.21</c:v>
                </c:pt>
                <c:pt idx="103">
                  <c:v>10.11.21</c:v>
                </c:pt>
                <c:pt idx="104">
                  <c:v>11.11.21</c:v>
                </c:pt>
                <c:pt idx="105">
                  <c:v>12.11.21</c:v>
                </c:pt>
                <c:pt idx="106">
                  <c:v>13.11.21</c:v>
                </c:pt>
                <c:pt idx="107">
                  <c:v>14.11.21</c:v>
                </c:pt>
                <c:pt idx="108">
                  <c:v>15.11.21</c:v>
                </c:pt>
                <c:pt idx="109">
                  <c:v>16.11.21</c:v>
                </c:pt>
                <c:pt idx="110">
                  <c:v>17.11.21</c:v>
                </c:pt>
                <c:pt idx="111">
                  <c:v>18.11.21</c:v>
                </c:pt>
                <c:pt idx="112">
                  <c:v>19.11.21</c:v>
                </c:pt>
                <c:pt idx="113">
                  <c:v>20.11.21</c:v>
                </c:pt>
                <c:pt idx="114">
                  <c:v>21.11.21</c:v>
                </c:pt>
                <c:pt idx="115">
                  <c:v>22.11.21</c:v>
                </c:pt>
                <c:pt idx="116">
                  <c:v>23.11.21</c:v>
                </c:pt>
                <c:pt idx="117">
                  <c:v>24.11.21</c:v>
                </c:pt>
                <c:pt idx="118">
                  <c:v>25.11.21</c:v>
                </c:pt>
                <c:pt idx="119">
                  <c:v>26.11.21</c:v>
                </c:pt>
                <c:pt idx="120">
                  <c:v>27.11.21</c:v>
                </c:pt>
                <c:pt idx="121">
                  <c:v>28.11.21</c:v>
                </c:pt>
                <c:pt idx="122">
                  <c:v>29.11.21</c:v>
                </c:pt>
                <c:pt idx="123">
                  <c:v>30.11.21</c:v>
                </c:pt>
                <c:pt idx="124">
                  <c:v>01.12.21</c:v>
                </c:pt>
                <c:pt idx="125">
                  <c:v>02.12.21</c:v>
                </c:pt>
                <c:pt idx="126">
                  <c:v>03.12.21</c:v>
                </c:pt>
                <c:pt idx="127">
                  <c:v>04.12.21</c:v>
                </c:pt>
                <c:pt idx="128">
                  <c:v>05.12.21</c:v>
                </c:pt>
                <c:pt idx="129">
                  <c:v>06.12.21</c:v>
                </c:pt>
                <c:pt idx="130">
                  <c:v>07.12.21</c:v>
                </c:pt>
                <c:pt idx="131">
                  <c:v>08.12.21</c:v>
                </c:pt>
                <c:pt idx="132">
                  <c:v>09.12.21</c:v>
                </c:pt>
                <c:pt idx="133">
                  <c:v>10.12.21</c:v>
                </c:pt>
                <c:pt idx="134">
                  <c:v>11.12.21</c:v>
                </c:pt>
                <c:pt idx="135">
                  <c:v>12.12.21</c:v>
                </c:pt>
                <c:pt idx="136">
                  <c:v>13.12.21</c:v>
                </c:pt>
                <c:pt idx="137">
                  <c:v>14.12.21</c:v>
                </c:pt>
                <c:pt idx="138">
                  <c:v>15.12.21</c:v>
                </c:pt>
                <c:pt idx="139">
                  <c:v>16.12.21</c:v>
                </c:pt>
                <c:pt idx="140">
                  <c:v>17.12.21</c:v>
                </c:pt>
                <c:pt idx="141">
                  <c:v>18.12.21</c:v>
                </c:pt>
                <c:pt idx="142">
                  <c:v>19.12.21</c:v>
                </c:pt>
                <c:pt idx="143">
                  <c:v>20.12.21</c:v>
                </c:pt>
                <c:pt idx="144">
                  <c:v>21.12.21</c:v>
                </c:pt>
                <c:pt idx="145">
                  <c:v>22.12.21</c:v>
                </c:pt>
                <c:pt idx="146">
                  <c:v>23.12.21</c:v>
                </c:pt>
                <c:pt idx="147">
                  <c:v>24.12.21</c:v>
                </c:pt>
                <c:pt idx="148">
                  <c:v>25.12.21</c:v>
                </c:pt>
                <c:pt idx="149">
                  <c:v>26.12.21</c:v>
                </c:pt>
                <c:pt idx="150">
                  <c:v>27.12.21</c:v>
                </c:pt>
                <c:pt idx="151">
                  <c:v>28.12.21</c:v>
                </c:pt>
                <c:pt idx="152">
                  <c:v>29.12.21</c:v>
                </c:pt>
                <c:pt idx="153">
                  <c:v>30.12.21</c:v>
                </c:pt>
                <c:pt idx="154">
                  <c:v>31.12.21</c:v>
                </c:pt>
                <c:pt idx="155">
                  <c:v>01.01.22</c:v>
                </c:pt>
                <c:pt idx="156">
                  <c:v>02.01.22</c:v>
                </c:pt>
                <c:pt idx="157">
                  <c:v>03.01.22</c:v>
                </c:pt>
                <c:pt idx="158">
                  <c:v>04.01.22</c:v>
                </c:pt>
                <c:pt idx="159">
                  <c:v>05.01.22</c:v>
                </c:pt>
                <c:pt idx="160">
                  <c:v>06.01.22</c:v>
                </c:pt>
                <c:pt idx="161">
                  <c:v>07.01.22</c:v>
                </c:pt>
                <c:pt idx="162">
                  <c:v>08.01.22</c:v>
                </c:pt>
                <c:pt idx="163">
                  <c:v>09.01.22</c:v>
                </c:pt>
                <c:pt idx="164">
                  <c:v>10.01.22</c:v>
                </c:pt>
                <c:pt idx="165">
                  <c:v>11.01.22</c:v>
                </c:pt>
                <c:pt idx="166">
                  <c:v>12.01.22</c:v>
                </c:pt>
                <c:pt idx="167">
                  <c:v>13.01.22</c:v>
                </c:pt>
                <c:pt idx="168">
                  <c:v>14.01.22</c:v>
                </c:pt>
                <c:pt idx="169">
                  <c:v>15.01.22</c:v>
                </c:pt>
                <c:pt idx="170">
                  <c:v>16.01.22</c:v>
                </c:pt>
                <c:pt idx="171">
                  <c:v>17.01.22</c:v>
                </c:pt>
                <c:pt idx="172">
                  <c:v>18.01.22</c:v>
                </c:pt>
                <c:pt idx="173">
                  <c:v>19.01.22</c:v>
                </c:pt>
                <c:pt idx="174">
                  <c:v>20.01.22</c:v>
                </c:pt>
                <c:pt idx="175">
                  <c:v>21.01.22</c:v>
                </c:pt>
                <c:pt idx="176">
                  <c:v>22.01.22</c:v>
                </c:pt>
                <c:pt idx="177">
                  <c:v>23.01.22</c:v>
                </c:pt>
                <c:pt idx="178">
                  <c:v>24.01.22</c:v>
                </c:pt>
                <c:pt idx="179">
                  <c:v>25.01.22</c:v>
                </c:pt>
                <c:pt idx="180">
                  <c:v>26.01.22</c:v>
                </c:pt>
                <c:pt idx="181">
                  <c:v>27.01.22</c:v>
                </c:pt>
                <c:pt idx="182">
                  <c:v>28.01.22</c:v>
                </c:pt>
              </c:strCache>
            </c:strRef>
          </c:cat>
          <c:val>
            <c:numRef>
              <c:f>List1!$B$2:$GB$2</c:f>
              <c:numCache>
                <c:formatCode>General</c:formatCode>
                <c:ptCount val="183"/>
                <c:pt idx="0">
                  <c:v>2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6</c:v>
                </c:pt>
                <c:pt idx="6">
                  <c:v>1</c:v>
                </c:pt>
                <c:pt idx="7">
                  <c:v>2</c:v>
                </c:pt>
                <c:pt idx="8">
                  <c:v>0</c:v>
                </c:pt>
                <c:pt idx="9">
                  <c:v>2</c:v>
                </c:pt>
                <c:pt idx="10">
                  <c:v>2</c:v>
                </c:pt>
                <c:pt idx="11">
                  <c:v>0</c:v>
                </c:pt>
                <c:pt idx="12">
                  <c:v>3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3</c:v>
                </c:pt>
                <c:pt idx="18">
                  <c:v>0</c:v>
                </c:pt>
                <c:pt idx="19">
                  <c:v>0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0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4</c:v>
                </c:pt>
                <c:pt idx="33">
                  <c:v>4</c:v>
                </c:pt>
                <c:pt idx="34">
                  <c:v>1</c:v>
                </c:pt>
                <c:pt idx="35">
                  <c:v>1</c:v>
                </c:pt>
                <c:pt idx="36">
                  <c:v>3</c:v>
                </c:pt>
                <c:pt idx="37">
                  <c:v>1</c:v>
                </c:pt>
                <c:pt idx="38">
                  <c:v>0</c:v>
                </c:pt>
                <c:pt idx="39">
                  <c:v>2</c:v>
                </c:pt>
                <c:pt idx="40">
                  <c:v>0</c:v>
                </c:pt>
                <c:pt idx="41">
                  <c:v>0</c:v>
                </c:pt>
                <c:pt idx="42">
                  <c:v>3</c:v>
                </c:pt>
                <c:pt idx="43">
                  <c:v>3</c:v>
                </c:pt>
                <c:pt idx="44">
                  <c:v>0</c:v>
                </c:pt>
                <c:pt idx="45">
                  <c:v>4</c:v>
                </c:pt>
                <c:pt idx="46">
                  <c:v>2</c:v>
                </c:pt>
                <c:pt idx="47">
                  <c:v>0</c:v>
                </c:pt>
                <c:pt idx="48">
                  <c:v>1</c:v>
                </c:pt>
                <c:pt idx="49">
                  <c:v>2</c:v>
                </c:pt>
                <c:pt idx="50">
                  <c:v>1</c:v>
                </c:pt>
                <c:pt idx="51">
                  <c:v>1</c:v>
                </c:pt>
                <c:pt idx="52">
                  <c:v>0</c:v>
                </c:pt>
                <c:pt idx="53">
                  <c:v>3</c:v>
                </c:pt>
                <c:pt idx="54">
                  <c:v>3</c:v>
                </c:pt>
                <c:pt idx="55">
                  <c:v>2</c:v>
                </c:pt>
                <c:pt idx="56">
                  <c:v>3</c:v>
                </c:pt>
                <c:pt idx="57">
                  <c:v>0</c:v>
                </c:pt>
                <c:pt idx="58">
                  <c:v>2</c:v>
                </c:pt>
                <c:pt idx="59">
                  <c:v>6</c:v>
                </c:pt>
                <c:pt idx="60">
                  <c:v>4</c:v>
                </c:pt>
                <c:pt idx="61">
                  <c:v>3</c:v>
                </c:pt>
                <c:pt idx="62">
                  <c:v>9</c:v>
                </c:pt>
                <c:pt idx="63">
                  <c:v>2</c:v>
                </c:pt>
                <c:pt idx="64">
                  <c:v>5</c:v>
                </c:pt>
                <c:pt idx="65">
                  <c:v>1</c:v>
                </c:pt>
                <c:pt idx="66">
                  <c:v>0</c:v>
                </c:pt>
                <c:pt idx="67">
                  <c:v>2</c:v>
                </c:pt>
                <c:pt idx="68">
                  <c:v>5</c:v>
                </c:pt>
                <c:pt idx="69">
                  <c:v>6</c:v>
                </c:pt>
                <c:pt idx="70">
                  <c:v>6</c:v>
                </c:pt>
                <c:pt idx="71">
                  <c:v>1</c:v>
                </c:pt>
                <c:pt idx="72">
                  <c:v>1</c:v>
                </c:pt>
                <c:pt idx="73">
                  <c:v>3</c:v>
                </c:pt>
                <c:pt idx="74">
                  <c:v>10</c:v>
                </c:pt>
                <c:pt idx="75">
                  <c:v>7</c:v>
                </c:pt>
                <c:pt idx="76">
                  <c:v>7</c:v>
                </c:pt>
                <c:pt idx="77">
                  <c:v>6</c:v>
                </c:pt>
                <c:pt idx="78">
                  <c:v>5</c:v>
                </c:pt>
                <c:pt idx="79">
                  <c:v>8</c:v>
                </c:pt>
                <c:pt idx="80">
                  <c:v>17</c:v>
                </c:pt>
                <c:pt idx="81">
                  <c:v>16</c:v>
                </c:pt>
                <c:pt idx="82">
                  <c:v>13</c:v>
                </c:pt>
                <c:pt idx="83">
                  <c:v>13</c:v>
                </c:pt>
                <c:pt idx="84">
                  <c:v>16</c:v>
                </c:pt>
                <c:pt idx="85">
                  <c:v>13</c:v>
                </c:pt>
                <c:pt idx="86">
                  <c:v>12</c:v>
                </c:pt>
                <c:pt idx="87">
                  <c:v>28</c:v>
                </c:pt>
                <c:pt idx="88">
                  <c:v>20</c:v>
                </c:pt>
                <c:pt idx="89">
                  <c:v>23</c:v>
                </c:pt>
                <c:pt idx="90">
                  <c:v>22</c:v>
                </c:pt>
                <c:pt idx="91">
                  <c:v>36</c:v>
                </c:pt>
                <c:pt idx="92">
                  <c:v>21</c:v>
                </c:pt>
                <c:pt idx="93">
                  <c:v>18</c:v>
                </c:pt>
                <c:pt idx="94">
                  <c:v>55</c:v>
                </c:pt>
                <c:pt idx="95">
                  <c:v>38</c:v>
                </c:pt>
                <c:pt idx="96">
                  <c:v>38</c:v>
                </c:pt>
                <c:pt idx="97">
                  <c:v>27</c:v>
                </c:pt>
                <c:pt idx="98">
                  <c:v>40</c:v>
                </c:pt>
                <c:pt idx="99">
                  <c:v>20</c:v>
                </c:pt>
                <c:pt idx="100">
                  <c:v>18</c:v>
                </c:pt>
                <c:pt idx="101">
                  <c:v>52</c:v>
                </c:pt>
                <c:pt idx="102">
                  <c:v>46</c:v>
                </c:pt>
                <c:pt idx="103">
                  <c:v>48</c:v>
                </c:pt>
                <c:pt idx="104">
                  <c:v>50</c:v>
                </c:pt>
                <c:pt idx="105">
                  <c:v>42</c:v>
                </c:pt>
                <c:pt idx="106">
                  <c:v>49</c:v>
                </c:pt>
                <c:pt idx="107">
                  <c:v>22</c:v>
                </c:pt>
                <c:pt idx="108">
                  <c:v>63</c:v>
                </c:pt>
                <c:pt idx="109">
                  <c:v>57</c:v>
                </c:pt>
                <c:pt idx="110">
                  <c:v>44</c:v>
                </c:pt>
                <c:pt idx="111">
                  <c:v>54</c:v>
                </c:pt>
                <c:pt idx="112">
                  <c:v>78</c:v>
                </c:pt>
                <c:pt idx="113">
                  <c:v>45</c:v>
                </c:pt>
                <c:pt idx="114">
                  <c:v>31</c:v>
                </c:pt>
                <c:pt idx="115">
                  <c:v>60</c:v>
                </c:pt>
                <c:pt idx="116">
                  <c:v>71</c:v>
                </c:pt>
                <c:pt idx="117">
                  <c:v>41</c:v>
                </c:pt>
                <c:pt idx="118">
                  <c:v>66</c:v>
                </c:pt>
                <c:pt idx="119">
                  <c:v>54</c:v>
                </c:pt>
                <c:pt idx="120">
                  <c:v>34</c:v>
                </c:pt>
                <c:pt idx="121">
                  <c:v>40</c:v>
                </c:pt>
                <c:pt idx="122">
                  <c:v>57</c:v>
                </c:pt>
                <c:pt idx="123">
                  <c:v>46</c:v>
                </c:pt>
                <c:pt idx="124">
                  <c:v>55</c:v>
                </c:pt>
                <c:pt idx="125">
                  <c:v>39</c:v>
                </c:pt>
                <c:pt idx="126">
                  <c:v>50</c:v>
                </c:pt>
                <c:pt idx="127">
                  <c:v>24</c:v>
                </c:pt>
                <c:pt idx="128">
                  <c:v>15</c:v>
                </c:pt>
                <c:pt idx="129">
                  <c:v>45</c:v>
                </c:pt>
                <c:pt idx="130">
                  <c:v>40</c:v>
                </c:pt>
                <c:pt idx="131">
                  <c:v>30</c:v>
                </c:pt>
                <c:pt idx="132">
                  <c:v>30</c:v>
                </c:pt>
                <c:pt idx="133">
                  <c:v>33</c:v>
                </c:pt>
                <c:pt idx="134">
                  <c:v>19</c:v>
                </c:pt>
                <c:pt idx="135">
                  <c:v>11</c:v>
                </c:pt>
                <c:pt idx="136">
                  <c:v>29</c:v>
                </c:pt>
                <c:pt idx="137">
                  <c:v>25</c:v>
                </c:pt>
                <c:pt idx="138">
                  <c:v>23</c:v>
                </c:pt>
                <c:pt idx="139">
                  <c:v>16</c:v>
                </c:pt>
                <c:pt idx="140">
                  <c:v>22</c:v>
                </c:pt>
                <c:pt idx="141">
                  <c:v>20</c:v>
                </c:pt>
                <c:pt idx="142">
                  <c:v>15</c:v>
                </c:pt>
                <c:pt idx="143">
                  <c:v>27</c:v>
                </c:pt>
                <c:pt idx="144">
                  <c:v>27</c:v>
                </c:pt>
                <c:pt idx="145">
                  <c:v>21</c:v>
                </c:pt>
                <c:pt idx="146">
                  <c:v>22</c:v>
                </c:pt>
                <c:pt idx="147">
                  <c:v>4</c:v>
                </c:pt>
                <c:pt idx="148">
                  <c:v>11</c:v>
                </c:pt>
                <c:pt idx="149">
                  <c:v>8</c:v>
                </c:pt>
                <c:pt idx="150">
                  <c:v>24</c:v>
                </c:pt>
                <c:pt idx="151">
                  <c:v>32</c:v>
                </c:pt>
                <c:pt idx="152">
                  <c:v>23</c:v>
                </c:pt>
                <c:pt idx="153">
                  <c:v>20</c:v>
                </c:pt>
                <c:pt idx="154">
                  <c:v>18</c:v>
                </c:pt>
                <c:pt idx="155">
                  <c:v>7</c:v>
                </c:pt>
                <c:pt idx="156">
                  <c:v>24</c:v>
                </c:pt>
                <c:pt idx="157">
                  <c:v>33</c:v>
                </c:pt>
                <c:pt idx="158">
                  <c:v>26</c:v>
                </c:pt>
                <c:pt idx="159">
                  <c:v>20</c:v>
                </c:pt>
                <c:pt idx="160">
                  <c:v>25</c:v>
                </c:pt>
                <c:pt idx="161">
                  <c:v>18</c:v>
                </c:pt>
                <c:pt idx="162">
                  <c:v>17</c:v>
                </c:pt>
                <c:pt idx="163">
                  <c:v>13</c:v>
                </c:pt>
                <c:pt idx="164">
                  <c:v>32</c:v>
                </c:pt>
                <c:pt idx="165">
                  <c:v>46</c:v>
                </c:pt>
                <c:pt idx="166">
                  <c:v>70</c:v>
                </c:pt>
                <c:pt idx="167">
                  <c:v>39</c:v>
                </c:pt>
                <c:pt idx="168">
                  <c:v>45</c:v>
                </c:pt>
                <c:pt idx="169">
                  <c:v>31</c:v>
                </c:pt>
                <c:pt idx="170">
                  <c:v>40</c:v>
                </c:pt>
                <c:pt idx="171">
                  <c:v>108</c:v>
                </c:pt>
                <c:pt idx="172">
                  <c:v>86</c:v>
                </c:pt>
                <c:pt idx="173">
                  <c:v>115</c:v>
                </c:pt>
                <c:pt idx="174">
                  <c:v>106</c:v>
                </c:pt>
                <c:pt idx="175">
                  <c:v>90</c:v>
                </c:pt>
                <c:pt idx="176">
                  <c:v>57</c:v>
                </c:pt>
                <c:pt idx="177">
                  <c:v>69</c:v>
                </c:pt>
                <c:pt idx="178">
                  <c:v>179</c:v>
                </c:pt>
                <c:pt idx="179">
                  <c:v>153</c:v>
                </c:pt>
                <c:pt idx="180">
                  <c:v>166</c:v>
                </c:pt>
                <c:pt idx="181">
                  <c:v>120</c:v>
                </c:pt>
                <c:pt idx="182">
                  <c:v>1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6350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6.9898053688695042E-8"/>
                  <c:y val="-2.3311865380609576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ED7D31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244118952507763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ED7D3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30.07.21</c:v>
                </c:pt>
                <c:pt idx="1">
                  <c:v>31.07.21</c:v>
                </c:pt>
                <c:pt idx="2">
                  <c:v>01.08.21</c:v>
                </c:pt>
                <c:pt idx="3">
                  <c:v>02.08.21</c:v>
                </c:pt>
                <c:pt idx="4">
                  <c:v>03.08.21</c:v>
                </c:pt>
                <c:pt idx="5">
                  <c:v>04.08.21</c:v>
                </c:pt>
                <c:pt idx="6">
                  <c:v>05.08.21</c:v>
                </c:pt>
                <c:pt idx="7">
                  <c:v>06.08.21</c:v>
                </c:pt>
                <c:pt idx="8">
                  <c:v>07.08.21</c:v>
                </c:pt>
                <c:pt idx="9">
                  <c:v>08.08.21</c:v>
                </c:pt>
                <c:pt idx="10">
                  <c:v>09.08.21</c:v>
                </c:pt>
                <c:pt idx="11">
                  <c:v>10.08.21</c:v>
                </c:pt>
                <c:pt idx="12">
                  <c:v>11.08.21</c:v>
                </c:pt>
                <c:pt idx="13">
                  <c:v>12.08.21</c:v>
                </c:pt>
                <c:pt idx="14">
                  <c:v>13.08.21</c:v>
                </c:pt>
                <c:pt idx="15">
                  <c:v>14.08.21</c:v>
                </c:pt>
                <c:pt idx="16">
                  <c:v>15.08.21</c:v>
                </c:pt>
                <c:pt idx="17">
                  <c:v>16.08.21</c:v>
                </c:pt>
                <c:pt idx="18">
                  <c:v>17.08.21</c:v>
                </c:pt>
                <c:pt idx="19">
                  <c:v>18.08.21</c:v>
                </c:pt>
                <c:pt idx="20">
                  <c:v>19.08.21</c:v>
                </c:pt>
                <c:pt idx="21">
                  <c:v>20.08.21</c:v>
                </c:pt>
                <c:pt idx="22">
                  <c:v>21.08.21</c:v>
                </c:pt>
                <c:pt idx="23">
                  <c:v>22.08.21</c:v>
                </c:pt>
                <c:pt idx="24">
                  <c:v>23.08.21</c:v>
                </c:pt>
                <c:pt idx="25">
                  <c:v>24.08.21</c:v>
                </c:pt>
                <c:pt idx="26">
                  <c:v>25.08.21</c:v>
                </c:pt>
                <c:pt idx="27">
                  <c:v>26.08.21</c:v>
                </c:pt>
                <c:pt idx="28">
                  <c:v>27.08.21</c:v>
                </c:pt>
                <c:pt idx="29">
                  <c:v>28.08.21</c:v>
                </c:pt>
                <c:pt idx="30">
                  <c:v>29.08.21</c:v>
                </c:pt>
                <c:pt idx="31">
                  <c:v>30.08.21</c:v>
                </c:pt>
                <c:pt idx="32">
                  <c:v>31.08.21</c:v>
                </c:pt>
                <c:pt idx="33">
                  <c:v>01.09.21</c:v>
                </c:pt>
                <c:pt idx="34">
                  <c:v>02.09.21</c:v>
                </c:pt>
                <c:pt idx="35">
                  <c:v>03.09.21</c:v>
                </c:pt>
                <c:pt idx="36">
                  <c:v>04.09.21</c:v>
                </c:pt>
                <c:pt idx="37">
                  <c:v>05.09.21</c:v>
                </c:pt>
                <c:pt idx="38">
                  <c:v>06.09.21</c:v>
                </c:pt>
                <c:pt idx="39">
                  <c:v>07.09.21</c:v>
                </c:pt>
                <c:pt idx="40">
                  <c:v>08.09.21</c:v>
                </c:pt>
                <c:pt idx="41">
                  <c:v>09.09.21</c:v>
                </c:pt>
                <c:pt idx="42">
                  <c:v>10.09.21</c:v>
                </c:pt>
                <c:pt idx="43">
                  <c:v>11.09.21</c:v>
                </c:pt>
                <c:pt idx="44">
                  <c:v>12.09.21</c:v>
                </c:pt>
                <c:pt idx="45">
                  <c:v>13.09.21</c:v>
                </c:pt>
                <c:pt idx="46">
                  <c:v>14.09.21</c:v>
                </c:pt>
                <c:pt idx="47">
                  <c:v>15.09.21</c:v>
                </c:pt>
                <c:pt idx="48">
                  <c:v>16.09.21</c:v>
                </c:pt>
                <c:pt idx="49">
                  <c:v>17.09.21</c:v>
                </c:pt>
                <c:pt idx="50">
                  <c:v>18.09.21</c:v>
                </c:pt>
                <c:pt idx="51">
                  <c:v>19.09.21</c:v>
                </c:pt>
                <c:pt idx="52">
                  <c:v>20.09.21</c:v>
                </c:pt>
                <c:pt idx="53">
                  <c:v>21.09.21</c:v>
                </c:pt>
                <c:pt idx="54">
                  <c:v>22.09.21</c:v>
                </c:pt>
                <c:pt idx="55">
                  <c:v>23.09.21</c:v>
                </c:pt>
                <c:pt idx="56">
                  <c:v>24.09.21</c:v>
                </c:pt>
                <c:pt idx="57">
                  <c:v>25.09.21</c:v>
                </c:pt>
                <c:pt idx="58">
                  <c:v>26.09.21</c:v>
                </c:pt>
                <c:pt idx="59">
                  <c:v>27.09.21</c:v>
                </c:pt>
                <c:pt idx="60">
                  <c:v>28.09.21</c:v>
                </c:pt>
                <c:pt idx="61">
                  <c:v>29.09.21</c:v>
                </c:pt>
                <c:pt idx="62">
                  <c:v>30.09.21</c:v>
                </c:pt>
                <c:pt idx="63">
                  <c:v>01.10.21</c:v>
                </c:pt>
                <c:pt idx="64">
                  <c:v>02.10.21</c:v>
                </c:pt>
                <c:pt idx="65">
                  <c:v>03.10.21</c:v>
                </c:pt>
                <c:pt idx="66">
                  <c:v>04.10.21</c:v>
                </c:pt>
                <c:pt idx="67">
                  <c:v>05.10.21</c:v>
                </c:pt>
                <c:pt idx="68">
                  <c:v>06.10.21</c:v>
                </c:pt>
                <c:pt idx="69">
                  <c:v>07.10.21</c:v>
                </c:pt>
                <c:pt idx="70">
                  <c:v>08.10.21</c:v>
                </c:pt>
                <c:pt idx="71">
                  <c:v>09.10.21</c:v>
                </c:pt>
                <c:pt idx="72">
                  <c:v>10.10.21</c:v>
                </c:pt>
                <c:pt idx="73">
                  <c:v>11.10.21</c:v>
                </c:pt>
                <c:pt idx="74">
                  <c:v>12.10.21</c:v>
                </c:pt>
                <c:pt idx="75">
                  <c:v>13.10.21</c:v>
                </c:pt>
                <c:pt idx="76">
                  <c:v>14.10.21</c:v>
                </c:pt>
                <c:pt idx="77">
                  <c:v>15.10.21</c:v>
                </c:pt>
                <c:pt idx="78">
                  <c:v>16.10.21</c:v>
                </c:pt>
                <c:pt idx="79">
                  <c:v>17.10.21</c:v>
                </c:pt>
                <c:pt idx="80">
                  <c:v>18.10.21</c:v>
                </c:pt>
                <c:pt idx="81">
                  <c:v>19.10.21</c:v>
                </c:pt>
                <c:pt idx="82">
                  <c:v>20.10.21</c:v>
                </c:pt>
                <c:pt idx="83">
                  <c:v>21.10.21</c:v>
                </c:pt>
                <c:pt idx="84">
                  <c:v>22.10.21</c:v>
                </c:pt>
                <c:pt idx="85">
                  <c:v>23.10.21</c:v>
                </c:pt>
                <c:pt idx="86">
                  <c:v>24.10.21</c:v>
                </c:pt>
                <c:pt idx="87">
                  <c:v>25.10.21</c:v>
                </c:pt>
                <c:pt idx="88">
                  <c:v>26.10.21</c:v>
                </c:pt>
                <c:pt idx="89">
                  <c:v>27.10.21</c:v>
                </c:pt>
                <c:pt idx="90">
                  <c:v>28.10.21</c:v>
                </c:pt>
                <c:pt idx="91">
                  <c:v>29.10.21</c:v>
                </c:pt>
                <c:pt idx="92">
                  <c:v>30.10.21</c:v>
                </c:pt>
                <c:pt idx="93">
                  <c:v>31.10.21</c:v>
                </c:pt>
                <c:pt idx="94">
                  <c:v>01.11.21</c:v>
                </c:pt>
                <c:pt idx="95">
                  <c:v>02.11.21</c:v>
                </c:pt>
                <c:pt idx="96">
                  <c:v>03.11.21</c:v>
                </c:pt>
                <c:pt idx="97">
                  <c:v>04.11.21</c:v>
                </c:pt>
                <c:pt idx="98">
                  <c:v>05.11.21</c:v>
                </c:pt>
                <c:pt idx="99">
                  <c:v>06.11.21</c:v>
                </c:pt>
                <c:pt idx="100">
                  <c:v>07.11.21</c:v>
                </c:pt>
                <c:pt idx="101">
                  <c:v>08.11.21</c:v>
                </c:pt>
                <c:pt idx="102">
                  <c:v>09.11.21</c:v>
                </c:pt>
                <c:pt idx="103">
                  <c:v>10.11.21</c:v>
                </c:pt>
                <c:pt idx="104">
                  <c:v>11.11.21</c:v>
                </c:pt>
                <c:pt idx="105">
                  <c:v>12.11.21</c:v>
                </c:pt>
                <c:pt idx="106">
                  <c:v>13.11.21</c:v>
                </c:pt>
                <c:pt idx="107">
                  <c:v>14.11.21</c:v>
                </c:pt>
                <c:pt idx="108">
                  <c:v>15.11.21</c:v>
                </c:pt>
                <c:pt idx="109">
                  <c:v>16.11.21</c:v>
                </c:pt>
                <c:pt idx="110">
                  <c:v>17.11.21</c:v>
                </c:pt>
                <c:pt idx="111">
                  <c:v>18.11.21</c:v>
                </c:pt>
                <c:pt idx="112">
                  <c:v>19.11.21</c:v>
                </c:pt>
                <c:pt idx="113">
                  <c:v>20.11.21</c:v>
                </c:pt>
                <c:pt idx="114">
                  <c:v>21.11.21</c:v>
                </c:pt>
                <c:pt idx="115">
                  <c:v>22.11.21</c:v>
                </c:pt>
                <c:pt idx="116">
                  <c:v>23.11.21</c:v>
                </c:pt>
                <c:pt idx="117">
                  <c:v>24.11.21</c:v>
                </c:pt>
                <c:pt idx="118">
                  <c:v>25.11.21</c:v>
                </c:pt>
                <c:pt idx="119">
                  <c:v>26.11.21</c:v>
                </c:pt>
                <c:pt idx="120">
                  <c:v>27.11.21</c:v>
                </c:pt>
                <c:pt idx="121">
                  <c:v>28.11.21</c:v>
                </c:pt>
                <c:pt idx="122">
                  <c:v>29.11.21</c:v>
                </c:pt>
                <c:pt idx="123">
                  <c:v>30.11.21</c:v>
                </c:pt>
                <c:pt idx="124">
                  <c:v>01.12.21</c:v>
                </c:pt>
                <c:pt idx="125">
                  <c:v>02.12.21</c:v>
                </c:pt>
                <c:pt idx="126">
                  <c:v>03.12.21</c:v>
                </c:pt>
                <c:pt idx="127">
                  <c:v>04.12.21</c:v>
                </c:pt>
                <c:pt idx="128">
                  <c:v>05.12.21</c:v>
                </c:pt>
                <c:pt idx="129">
                  <c:v>06.12.21</c:v>
                </c:pt>
                <c:pt idx="130">
                  <c:v>07.12.21</c:v>
                </c:pt>
                <c:pt idx="131">
                  <c:v>08.12.21</c:v>
                </c:pt>
                <c:pt idx="132">
                  <c:v>09.12.21</c:v>
                </c:pt>
                <c:pt idx="133">
                  <c:v>10.12.21</c:v>
                </c:pt>
                <c:pt idx="134">
                  <c:v>11.12.21</c:v>
                </c:pt>
                <c:pt idx="135">
                  <c:v>12.12.21</c:v>
                </c:pt>
                <c:pt idx="136">
                  <c:v>13.12.21</c:v>
                </c:pt>
                <c:pt idx="137">
                  <c:v>14.12.21</c:v>
                </c:pt>
                <c:pt idx="138">
                  <c:v>15.12.21</c:v>
                </c:pt>
                <c:pt idx="139">
                  <c:v>16.12.21</c:v>
                </c:pt>
                <c:pt idx="140">
                  <c:v>17.12.21</c:v>
                </c:pt>
                <c:pt idx="141">
                  <c:v>18.12.21</c:v>
                </c:pt>
                <c:pt idx="142">
                  <c:v>19.12.21</c:v>
                </c:pt>
                <c:pt idx="143">
                  <c:v>20.12.21</c:v>
                </c:pt>
                <c:pt idx="144">
                  <c:v>21.12.21</c:v>
                </c:pt>
                <c:pt idx="145">
                  <c:v>22.12.21</c:v>
                </c:pt>
                <c:pt idx="146">
                  <c:v>23.12.21</c:v>
                </c:pt>
                <c:pt idx="147">
                  <c:v>24.12.21</c:v>
                </c:pt>
                <c:pt idx="148">
                  <c:v>25.12.21</c:v>
                </c:pt>
                <c:pt idx="149">
                  <c:v>26.12.21</c:v>
                </c:pt>
                <c:pt idx="150">
                  <c:v>27.12.21</c:v>
                </c:pt>
                <c:pt idx="151">
                  <c:v>28.12.21</c:v>
                </c:pt>
                <c:pt idx="152">
                  <c:v>29.12.21</c:v>
                </c:pt>
                <c:pt idx="153">
                  <c:v>30.12.21</c:v>
                </c:pt>
                <c:pt idx="154">
                  <c:v>31.12.21</c:v>
                </c:pt>
                <c:pt idx="155">
                  <c:v>01.01.22</c:v>
                </c:pt>
                <c:pt idx="156">
                  <c:v>02.01.22</c:v>
                </c:pt>
                <c:pt idx="157">
                  <c:v>03.01.22</c:v>
                </c:pt>
                <c:pt idx="158">
                  <c:v>04.01.22</c:v>
                </c:pt>
                <c:pt idx="159">
                  <c:v>05.01.22</c:v>
                </c:pt>
                <c:pt idx="160">
                  <c:v>06.01.22</c:v>
                </c:pt>
                <c:pt idx="161">
                  <c:v>07.01.22</c:v>
                </c:pt>
                <c:pt idx="162">
                  <c:v>08.01.22</c:v>
                </c:pt>
                <c:pt idx="163">
                  <c:v>09.01.22</c:v>
                </c:pt>
                <c:pt idx="164">
                  <c:v>10.01.22</c:v>
                </c:pt>
                <c:pt idx="165">
                  <c:v>11.01.22</c:v>
                </c:pt>
                <c:pt idx="166">
                  <c:v>12.01.22</c:v>
                </c:pt>
                <c:pt idx="167">
                  <c:v>13.01.22</c:v>
                </c:pt>
                <c:pt idx="168">
                  <c:v>14.01.22</c:v>
                </c:pt>
                <c:pt idx="169">
                  <c:v>15.01.22</c:v>
                </c:pt>
                <c:pt idx="170">
                  <c:v>16.01.22</c:v>
                </c:pt>
                <c:pt idx="171">
                  <c:v>17.01.22</c:v>
                </c:pt>
                <c:pt idx="172">
                  <c:v>18.01.22</c:v>
                </c:pt>
                <c:pt idx="173">
                  <c:v>19.01.22</c:v>
                </c:pt>
                <c:pt idx="174">
                  <c:v>20.01.22</c:v>
                </c:pt>
                <c:pt idx="175">
                  <c:v>21.01.22</c:v>
                </c:pt>
                <c:pt idx="176">
                  <c:v>22.01.22</c:v>
                </c:pt>
                <c:pt idx="177">
                  <c:v>23.01.22</c:v>
                </c:pt>
                <c:pt idx="178">
                  <c:v>24.01.22</c:v>
                </c:pt>
                <c:pt idx="179">
                  <c:v>25.01.22</c:v>
                </c:pt>
                <c:pt idx="180">
                  <c:v>26.01.22</c:v>
                </c:pt>
                <c:pt idx="181">
                  <c:v>27.01.22</c:v>
                </c:pt>
                <c:pt idx="182">
                  <c:v>28.01.22</c:v>
                </c:pt>
              </c:strCache>
            </c:strRef>
          </c:cat>
          <c:val>
            <c:numRef>
              <c:f>List1!$B$3:$GB$3</c:f>
              <c:numCache>
                <c:formatCode>General</c:formatCode>
                <c:ptCount val="183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2</c:v>
                </c:pt>
                <c:pt idx="5">
                  <c:v>1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2</c:v>
                </c:pt>
                <c:pt idx="15">
                  <c:v>3</c:v>
                </c:pt>
                <c:pt idx="16">
                  <c:v>1</c:v>
                </c:pt>
                <c:pt idx="17">
                  <c:v>3</c:v>
                </c:pt>
                <c:pt idx="18">
                  <c:v>3</c:v>
                </c:pt>
                <c:pt idx="19">
                  <c:v>2</c:v>
                </c:pt>
                <c:pt idx="20">
                  <c:v>1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4</c:v>
                </c:pt>
                <c:pt idx="25">
                  <c:v>2</c:v>
                </c:pt>
                <c:pt idx="26">
                  <c:v>0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1</c:v>
                </c:pt>
                <c:pt idx="31">
                  <c:v>0</c:v>
                </c:pt>
                <c:pt idx="32">
                  <c:v>2</c:v>
                </c:pt>
                <c:pt idx="33">
                  <c:v>1</c:v>
                </c:pt>
                <c:pt idx="34">
                  <c:v>5</c:v>
                </c:pt>
                <c:pt idx="35">
                  <c:v>6</c:v>
                </c:pt>
                <c:pt idx="36">
                  <c:v>1</c:v>
                </c:pt>
                <c:pt idx="37">
                  <c:v>0</c:v>
                </c:pt>
                <c:pt idx="38">
                  <c:v>2</c:v>
                </c:pt>
                <c:pt idx="39">
                  <c:v>6</c:v>
                </c:pt>
                <c:pt idx="40">
                  <c:v>1</c:v>
                </c:pt>
                <c:pt idx="41">
                  <c:v>4</c:v>
                </c:pt>
                <c:pt idx="42">
                  <c:v>0</c:v>
                </c:pt>
                <c:pt idx="43">
                  <c:v>1</c:v>
                </c:pt>
                <c:pt idx="44">
                  <c:v>2</c:v>
                </c:pt>
                <c:pt idx="45">
                  <c:v>3</c:v>
                </c:pt>
                <c:pt idx="46">
                  <c:v>4</c:v>
                </c:pt>
                <c:pt idx="47">
                  <c:v>3</c:v>
                </c:pt>
                <c:pt idx="48">
                  <c:v>7</c:v>
                </c:pt>
                <c:pt idx="49">
                  <c:v>5</c:v>
                </c:pt>
                <c:pt idx="50">
                  <c:v>2</c:v>
                </c:pt>
                <c:pt idx="51">
                  <c:v>2</c:v>
                </c:pt>
                <c:pt idx="52">
                  <c:v>10</c:v>
                </c:pt>
                <c:pt idx="53">
                  <c:v>7</c:v>
                </c:pt>
                <c:pt idx="54">
                  <c:v>6</c:v>
                </c:pt>
                <c:pt idx="55">
                  <c:v>5</c:v>
                </c:pt>
                <c:pt idx="56">
                  <c:v>7</c:v>
                </c:pt>
                <c:pt idx="57">
                  <c:v>6</c:v>
                </c:pt>
                <c:pt idx="58">
                  <c:v>6</c:v>
                </c:pt>
                <c:pt idx="59">
                  <c:v>5</c:v>
                </c:pt>
                <c:pt idx="60">
                  <c:v>7</c:v>
                </c:pt>
                <c:pt idx="61">
                  <c:v>12</c:v>
                </c:pt>
                <c:pt idx="62">
                  <c:v>15</c:v>
                </c:pt>
                <c:pt idx="63">
                  <c:v>7</c:v>
                </c:pt>
                <c:pt idx="64">
                  <c:v>5</c:v>
                </c:pt>
                <c:pt idx="65">
                  <c:v>8</c:v>
                </c:pt>
                <c:pt idx="66">
                  <c:v>10</c:v>
                </c:pt>
                <c:pt idx="67">
                  <c:v>12</c:v>
                </c:pt>
                <c:pt idx="68">
                  <c:v>9</c:v>
                </c:pt>
                <c:pt idx="69">
                  <c:v>8</c:v>
                </c:pt>
                <c:pt idx="70">
                  <c:v>9</c:v>
                </c:pt>
                <c:pt idx="71">
                  <c:v>5</c:v>
                </c:pt>
                <c:pt idx="72">
                  <c:v>4</c:v>
                </c:pt>
                <c:pt idx="73">
                  <c:v>17</c:v>
                </c:pt>
                <c:pt idx="74">
                  <c:v>17</c:v>
                </c:pt>
                <c:pt idx="75">
                  <c:v>20</c:v>
                </c:pt>
                <c:pt idx="76">
                  <c:v>19</c:v>
                </c:pt>
                <c:pt idx="77">
                  <c:v>17</c:v>
                </c:pt>
                <c:pt idx="78">
                  <c:v>10</c:v>
                </c:pt>
                <c:pt idx="79">
                  <c:v>10</c:v>
                </c:pt>
                <c:pt idx="80">
                  <c:v>32</c:v>
                </c:pt>
                <c:pt idx="81">
                  <c:v>25</c:v>
                </c:pt>
                <c:pt idx="82">
                  <c:v>24</c:v>
                </c:pt>
                <c:pt idx="83">
                  <c:v>49</c:v>
                </c:pt>
                <c:pt idx="84">
                  <c:v>38</c:v>
                </c:pt>
                <c:pt idx="85">
                  <c:v>31</c:v>
                </c:pt>
                <c:pt idx="86">
                  <c:v>11</c:v>
                </c:pt>
                <c:pt idx="87">
                  <c:v>58</c:v>
                </c:pt>
                <c:pt idx="88">
                  <c:v>63</c:v>
                </c:pt>
                <c:pt idx="89">
                  <c:v>71</c:v>
                </c:pt>
                <c:pt idx="90">
                  <c:v>32</c:v>
                </c:pt>
                <c:pt idx="91">
                  <c:v>76</c:v>
                </c:pt>
                <c:pt idx="92">
                  <c:v>56</c:v>
                </c:pt>
                <c:pt idx="93">
                  <c:v>37</c:v>
                </c:pt>
                <c:pt idx="94">
                  <c:v>103</c:v>
                </c:pt>
                <c:pt idx="95">
                  <c:v>100</c:v>
                </c:pt>
                <c:pt idx="96">
                  <c:v>107</c:v>
                </c:pt>
                <c:pt idx="97">
                  <c:v>96</c:v>
                </c:pt>
                <c:pt idx="98">
                  <c:v>107</c:v>
                </c:pt>
                <c:pt idx="99">
                  <c:v>78</c:v>
                </c:pt>
                <c:pt idx="100">
                  <c:v>25</c:v>
                </c:pt>
                <c:pt idx="101">
                  <c:v>120</c:v>
                </c:pt>
                <c:pt idx="102">
                  <c:v>133</c:v>
                </c:pt>
                <c:pt idx="103">
                  <c:v>164</c:v>
                </c:pt>
                <c:pt idx="104">
                  <c:v>91</c:v>
                </c:pt>
                <c:pt idx="105">
                  <c:v>150</c:v>
                </c:pt>
                <c:pt idx="106">
                  <c:v>86</c:v>
                </c:pt>
                <c:pt idx="107">
                  <c:v>52</c:v>
                </c:pt>
                <c:pt idx="108">
                  <c:v>148</c:v>
                </c:pt>
                <c:pt idx="109">
                  <c:v>214</c:v>
                </c:pt>
                <c:pt idx="110">
                  <c:v>106</c:v>
                </c:pt>
                <c:pt idx="111">
                  <c:v>152</c:v>
                </c:pt>
                <c:pt idx="112">
                  <c:v>213</c:v>
                </c:pt>
                <c:pt idx="113">
                  <c:v>145</c:v>
                </c:pt>
                <c:pt idx="114">
                  <c:v>78</c:v>
                </c:pt>
                <c:pt idx="115">
                  <c:v>181</c:v>
                </c:pt>
                <c:pt idx="116">
                  <c:v>239</c:v>
                </c:pt>
                <c:pt idx="117">
                  <c:v>129</c:v>
                </c:pt>
                <c:pt idx="118">
                  <c:v>197</c:v>
                </c:pt>
                <c:pt idx="119">
                  <c:v>177</c:v>
                </c:pt>
                <c:pt idx="120">
                  <c:v>99</c:v>
                </c:pt>
                <c:pt idx="121">
                  <c:v>74</c:v>
                </c:pt>
                <c:pt idx="122">
                  <c:v>187</c:v>
                </c:pt>
                <c:pt idx="123">
                  <c:v>149</c:v>
                </c:pt>
                <c:pt idx="124">
                  <c:v>155</c:v>
                </c:pt>
                <c:pt idx="125">
                  <c:v>133</c:v>
                </c:pt>
                <c:pt idx="126">
                  <c:v>127</c:v>
                </c:pt>
                <c:pt idx="127">
                  <c:v>79</c:v>
                </c:pt>
                <c:pt idx="128">
                  <c:v>59</c:v>
                </c:pt>
                <c:pt idx="129">
                  <c:v>150</c:v>
                </c:pt>
                <c:pt idx="130">
                  <c:v>143</c:v>
                </c:pt>
                <c:pt idx="131">
                  <c:v>108</c:v>
                </c:pt>
                <c:pt idx="132">
                  <c:v>118</c:v>
                </c:pt>
                <c:pt idx="133">
                  <c:v>104</c:v>
                </c:pt>
                <c:pt idx="134">
                  <c:v>70</c:v>
                </c:pt>
                <c:pt idx="135">
                  <c:v>50</c:v>
                </c:pt>
                <c:pt idx="136">
                  <c:v>95</c:v>
                </c:pt>
                <c:pt idx="137">
                  <c:v>113</c:v>
                </c:pt>
                <c:pt idx="138">
                  <c:v>77</c:v>
                </c:pt>
                <c:pt idx="139">
                  <c:v>60</c:v>
                </c:pt>
                <c:pt idx="140">
                  <c:v>71</c:v>
                </c:pt>
                <c:pt idx="141">
                  <c:v>45</c:v>
                </c:pt>
                <c:pt idx="142">
                  <c:v>29</c:v>
                </c:pt>
                <c:pt idx="143">
                  <c:v>82</c:v>
                </c:pt>
                <c:pt idx="144">
                  <c:v>74</c:v>
                </c:pt>
                <c:pt idx="145">
                  <c:v>50</c:v>
                </c:pt>
                <c:pt idx="146">
                  <c:v>55</c:v>
                </c:pt>
                <c:pt idx="147">
                  <c:v>17</c:v>
                </c:pt>
                <c:pt idx="148">
                  <c:v>18</c:v>
                </c:pt>
                <c:pt idx="149">
                  <c:v>16</c:v>
                </c:pt>
                <c:pt idx="150">
                  <c:v>71</c:v>
                </c:pt>
                <c:pt idx="151">
                  <c:v>84</c:v>
                </c:pt>
                <c:pt idx="152">
                  <c:v>50</c:v>
                </c:pt>
                <c:pt idx="153">
                  <c:v>46</c:v>
                </c:pt>
                <c:pt idx="154">
                  <c:v>43</c:v>
                </c:pt>
                <c:pt idx="155">
                  <c:v>10</c:v>
                </c:pt>
                <c:pt idx="156">
                  <c:v>33</c:v>
                </c:pt>
                <c:pt idx="157">
                  <c:v>80</c:v>
                </c:pt>
                <c:pt idx="158">
                  <c:v>66</c:v>
                </c:pt>
                <c:pt idx="159">
                  <c:v>44</c:v>
                </c:pt>
                <c:pt idx="160">
                  <c:v>49</c:v>
                </c:pt>
                <c:pt idx="161">
                  <c:v>56</c:v>
                </c:pt>
                <c:pt idx="162">
                  <c:v>32</c:v>
                </c:pt>
                <c:pt idx="163">
                  <c:v>22</c:v>
                </c:pt>
                <c:pt idx="164">
                  <c:v>58</c:v>
                </c:pt>
                <c:pt idx="165">
                  <c:v>88</c:v>
                </c:pt>
                <c:pt idx="166">
                  <c:v>81</c:v>
                </c:pt>
                <c:pt idx="167">
                  <c:v>76</c:v>
                </c:pt>
                <c:pt idx="168">
                  <c:v>78</c:v>
                </c:pt>
                <c:pt idx="169">
                  <c:v>74</c:v>
                </c:pt>
                <c:pt idx="170">
                  <c:v>45</c:v>
                </c:pt>
                <c:pt idx="171">
                  <c:v>180</c:v>
                </c:pt>
                <c:pt idx="172">
                  <c:v>199</c:v>
                </c:pt>
                <c:pt idx="173">
                  <c:v>187</c:v>
                </c:pt>
                <c:pt idx="174">
                  <c:v>205</c:v>
                </c:pt>
                <c:pt idx="175">
                  <c:v>252</c:v>
                </c:pt>
                <c:pt idx="176">
                  <c:v>130</c:v>
                </c:pt>
                <c:pt idx="177">
                  <c:v>112</c:v>
                </c:pt>
                <c:pt idx="178">
                  <c:v>326</c:v>
                </c:pt>
                <c:pt idx="179">
                  <c:v>330</c:v>
                </c:pt>
                <c:pt idx="180">
                  <c:v>405</c:v>
                </c:pt>
                <c:pt idx="181">
                  <c:v>350</c:v>
                </c:pt>
                <c:pt idx="182">
                  <c:v>4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8FD-43E4-BA1D-0B494D841FF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-1.865013478276434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A6A6A6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30.07.21</c:v>
                </c:pt>
                <c:pt idx="1">
                  <c:v>31.07.21</c:v>
                </c:pt>
                <c:pt idx="2">
                  <c:v>01.08.21</c:v>
                </c:pt>
                <c:pt idx="3">
                  <c:v>02.08.21</c:v>
                </c:pt>
                <c:pt idx="4">
                  <c:v>03.08.21</c:v>
                </c:pt>
                <c:pt idx="5">
                  <c:v>04.08.21</c:v>
                </c:pt>
                <c:pt idx="6">
                  <c:v>05.08.21</c:v>
                </c:pt>
                <c:pt idx="7">
                  <c:v>06.08.21</c:v>
                </c:pt>
                <c:pt idx="8">
                  <c:v>07.08.21</c:v>
                </c:pt>
                <c:pt idx="9">
                  <c:v>08.08.21</c:v>
                </c:pt>
                <c:pt idx="10">
                  <c:v>09.08.21</c:v>
                </c:pt>
                <c:pt idx="11">
                  <c:v>10.08.21</c:v>
                </c:pt>
                <c:pt idx="12">
                  <c:v>11.08.21</c:v>
                </c:pt>
                <c:pt idx="13">
                  <c:v>12.08.21</c:v>
                </c:pt>
                <c:pt idx="14">
                  <c:v>13.08.21</c:v>
                </c:pt>
                <c:pt idx="15">
                  <c:v>14.08.21</c:v>
                </c:pt>
                <c:pt idx="16">
                  <c:v>15.08.21</c:v>
                </c:pt>
                <c:pt idx="17">
                  <c:v>16.08.21</c:v>
                </c:pt>
                <c:pt idx="18">
                  <c:v>17.08.21</c:v>
                </c:pt>
                <c:pt idx="19">
                  <c:v>18.08.21</c:v>
                </c:pt>
                <c:pt idx="20">
                  <c:v>19.08.21</c:v>
                </c:pt>
                <c:pt idx="21">
                  <c:v>20.08.21</c:v>
                </c:pt>
                <c:pt idx="22">
                  <c:v>21.08.21</c:v>
                </c:pt>
                <c:pt idx="23">
                  <c:v>22.08.21</c:v>
                </c:pt>
                <c:pt idx="24">
                  <c:v>23.08.21</c:v>
                </c:pt>
                <c:pt idx="25">
                  <c:v>24.08.21</c:v>
                </c:pt>
                <c:pt idx="26">
                  <c:v>25.08.21</c:v>
                </c:pt>
                <c:pt idx="27">
                  <c:v>26.08.21</c:v>
                </c:pt>
                <c:pt idx="28">
                  <c:v>27.08.21</c:v>
                </c:pt>
                <c:pt idx="29">
                  <c:v>28.08.21</c:v>
                </c:pt>
                <c:pt idx="30">
                  <c:v>29.08.21</c:v>
                </c:pt>
                <c:pt idx="31">
                  <c:v>30.08.21</c:v>
                </c:pt>
                <c:pt idx="32">
                  <c:v>31.08.21</c:v>
                </c:pt>
                <c:pt idx="33">
                  <c:v>01.09.21</c:v>
                </c:pt>
                <c:pt idx="34">
                  <c:v>02.09.21</c:v>
                </c:pt>
                <c:pt idx="35">
                  <c:v>03.09.21</c:v>
                </c:pt>
                <c:pt idx="36">
                  <c:v>04.09.21</c:v>
                </c:pt>
                <c:pt idx="37">
                  <c:v>05.09.21</c:v>
                </c:pt>
                <c:pt idx="38">
                  <c:v>06.09.21</c:v>
                </c:pt>
                <c:pt idx="39">
                  <c:v>07.09.21</c:v>
                </c:pt>
                <c:pt idx="40">
                  <c:v>08.09.21</c:v>
                </c:pt>
                <c:pt idx="41">
                  <c:v>09.09.21</c:v>
                </c:pt>
                <c:pt idx="42">
                  <c:v>10.09.21</c:v>
                </c:pt>
                <c:pt idx="43">
                  <c:v>11.09.21</c:v>
                </c:pt>
                <c:pt idx="44">
                  <c:v>12.09.21</c:v>
                </c:pt>
                <c:pt idx="45">
                  <c:v>13.09.21</c:v>
                </c:pt>
                <c:pt idx="46">
                  <c:v>14.09.21</c:v>
                </c:pt>
                <c:pt idx="47">
                  <c:v>15.09.21</c:v>
                </c:pt>
                <c:pt idx="48">
                  <c:v>16.09.21</c:v>
                </c:pt>
                <c:pt idx="49">
                  <c:v>17.09.21</c:v>
                </c:pt>
                <c:pt idx="50">
                  <c:v>18.09.21</c:v>
                </c:pt>
                <c:pt idx="51">
                  <c:v>19.09.21</c:v>
                </c:pt>
                <c:pt idx="52">
                  <c:v>20.09.21</c:v>
                </c:pt>
                <c:pt idx="53">
                  <c:v>21.09.21</c:v>
                </c:pt>
                <c:pt idx="54">
                  <c:v>22.09.21</c:v>
                </c:pt>
                <c:pt idx="55">
                  <c:v>23.09.21</c:v>
                </c:pt>
                <c:pt idx="56">
                  <c:v>24.09.21</c:v>
                </c:pt>
                <c:pt idx="57">
                  <c:v>25.09.21</c:v>
                </c:pt>
                <c:pt idx="58">
                  <c:v>26.09.21</c:v>
                </c:pt>
                <c:pt idx="59">
                  <c:v>27.09.21</c:v>
                </c:pt>
                <c:pt idx="60">
                  <c:v>28.09.21</c:v>
                </c:pt>
                <c:pt idx="61">
                  <c:v>29.09.21</c:v>
                </c:pt>
                <c:pt idx="62">
                  <c:v>30.09.21</c:v>
                </c:pt>
                <c:pt idx="63">
                  <c:v>01.10.21</c:v>
                </c:pt>
                <c:pt idx="64">
                  <c:v>02.10.21</c:v>
                </c:pt>
                <c:pt idx="65">
                  <c:v>03.10.21</c:v>
                </c:pt>
                <c:pt idx="66">
                  <c:v>04.10.21</c:v>
                </c:pt>
                <c:pt idx="67">
                  <c:v>05.10.21</c:v>
                </c:pt>
                <c:pt idx="68">
                  <c:v>06.10.21</c:v>
                </c:pt>
                <c:pt idx="69">
                  <c:v>07.10.21</c:v>
                </c:pt>
                <c:pt idx="70">
                  <c:v>08.10.21</c:v>
                </c:pt>
                <c:pt idx="71">
                  <c:v>09.10.21</c:v>
                </c:pt>
                <c:pt idx="72">
                  <c:v>10.10.21</c:v>
                </c:pt>
                <c:pt idx="73">
                  <c:v>11.10.21</c:v>
                </c:pt>
                <c:pt idx="74">
                  <c:v>12.10.21</c:v>
                </c:pt>
                <c:pt idx="75">
                  <c:v>13.10.21</c:v>
                </c:pt>
                <c:pt idx="76">
                  <c:v>14.10.21</c:v>
                </c:pt>
                <c:pt idx="77">
                  <c:v>15.10.21</c:v>
                </c:pt>
                <c:pt idx="78">
                  <c:v>16.10.21</c:v>
                </c:pt>
                <c:pt idx="79">
                  <c:v>17.10.21</c:v>
                </c:pt>
                <c:pt idx="80">
                  <c:v>18.10.21</c:v>
                </c:pt>
                <c:pt idx="81">
                  <c:v>19.10.21</c:v>
                </c:pt>
                <c:pt idx="82">
                  <c:v>20.10.21</c:v>
                </c:pt>
                <c:pt idx="83">
                  <c:v>21.10.21</c:v>
                </c:pt>
                <c:pt idx="84">
                  <c:v>22.10.21</c:v>
                </c:pt>
                <c:pt idx="85">
                  <c:v>23.10.21</c:v>
                </c:pt>
                <c:pt idx="86">
                  <c:v>24.10.21</c:v>
                </c:pt>
                <c:pt idx="87">
                  <c:v>25.10.21</c:v>
                </c:pt>
                <c:pt idx="88">
                  <c:v>26.10.21</c:v>
                </c:pt>
                <c:pt idx="89">
                  <c:v>27.10.21</c:v>
                </c:pt>
                <c:pt idx="90">
                  <c:v>28.10.21</c:v>
                </c:pt>
                <c:pt idx="91">
                  <c:v>29.10.21</c:v>
                </c:pt>
                <c:pt idx="92">
                  <c:v>30.10.21</c:v>
                </c:pt>
                <c:pt idx="93">
                  <c:v>31.10.21</c:v>
                </c:pt>
                <c:pt idx="94">
                  <c:v>01.11.21</c:v>
                </c:pt>
                <c:pt idx="95">
                  <c:v>02.11.21</c:v>
                </c:pt>
                <c:pt idx="96">
                  <c:v>03.11.21</c:v>
                </c:pt>
                <c:pt idx="97">
                  <c:v>04.11.21</c:v>
                </c:pt>
                <c:pt idx="98">
                  <c:v>05.11.21</c:v>
                </c:pt>
                <c:pt idx="99">
                  <c:v>06.11.21</c:v>
                </c:pt>
                <c:pt idx="100">
                  <c:v>07.11.21</c:v>
                </c:pt>
                <c:pt idx="101">
                  <c:v>08.11.21</c:v>
                </c:pt>
                <c:pt idx="102">
                  <c:v>09.11.21</c:v>
                </c:pt>
                <c:pt idx="103">
                  <c:v>10.11.21</c:v>
                </c:pt>
                <c:pt idx="104">
                  <c:v>11.11.21</c:v>
                </c:pt>
                <c:pt idx="105">
                  <c:v>12.11.21</c:v>
                </c:pt>
                <c:pt idx="106">
                  <c:v>13.11.21</c:v>
                </c:pt>
                <c:pt idx="107">
                  <c:v>14.11.21</c:v>
                </c:pt>
                <c:pt idx="108">
                  <c:v>15.11.21</c:v>
                </c:pt>
                <c:pt idx="109">
                  <c:v>16.11.21</c:v>
                </c:pt>
                <c:pt idx="110">
                  <c:v>17.11.21</c:v>
                </c:pt>
                <c:pt idx="111">
                  <c:v>18.11.21</c:v>
                </c:pt>
                <c:pt idx="112">
                  <c:v>19.11.21</c:v>
                </c:pt>
                <c:pt idx="113">
                  <c:v>20.11.21</c:v>
                </c:pt>
                <c:pt idx="114">
                  <c:v>21.11.21</c:v>
                </c:pt>
                <c:pt idx="115">
                  <c:v>22.11.21</c:v>
                </c:pt>
                <c:pt idx="116">
                  <c:v>23.11.21</c:v>
                </c:pt>
                <c:pt idx="117">
                  <c:v>24.11.21</c:v>
                </c:pt>
                <c:pt idx="118">
                  <c:v>25.11.21</c:v>
                </c:pt>
                <c:pt idx="119">
                  <c:v>26.11.21</c:v>
                </c:pt>
                <c:pt idx="120">
                  <c:v>27.11.21</c:v>
                </c:pt>
                <c:pt idx="121">
                  <c:v>28.11.21</c:v>
                </c:pt>
                <c:pt idx="122">
                  <c:v>29.11.21</c:v>
                </c:pt>
                <c:pt idx="123">
                  <c:v>30.11.21</c:v>
                </c:pt>
                <c:pt idx="124">
                  <c:v>01.12.21</c:v>
                </c:pt>
                <c:pt idx="125">
                  <c:v>02.12.21</c:v>
                </c:pt>
                <c:pt idx="126">
                  <c:v>03.12.21</c:v>
                </c:pt>
                <c:pt idx="127">
                  <c:v>04.12.21</c:v>
                </c:pt>
                <c:pt idx="128">
                  <c:v>05.12.21</c:v>
                </c:pt>
                <c:pt idx="129">
                  <c:v>06.12.21</c:v>
                </c:pt>
                <c:pt idx="130">
                  <c:v>07.12.21</c:v>
                </c:pt>
                <c:pt idx="131">
                  <c:v>08.12.21</c:v>
                </c:pt>
                <c:pt idx="132">
                  <c:v>09.12.21</c:v>
                </c:pt>
                <c:pt idx="133">
                  <c:v>10.12.21</c:v>
                </c:pt>
                <c:pt idx="134">
                  <c:v>11.12.21</c:v>
                </c:pt>
                <c:pt idx="135">
                  <c:v>12.12.21</c:v>
                </c:pt>
                <c:pt idx="136">
                  <c:v>13.12.21</c:v>
                </c:pt>
                <c:pt idx="137">
                  <c:v>14.12.21</c:v>
                </c:pt>
                <c:pt idx="138">
                  <c:v>15.12.21</c:v>
                </c:pt>
                <c:pt idx="139">
                  <c:v>16.12.21</c:v>
                </c:pt>
                <c:pt idx="140">
                  <c:v>17.12.21</c:v>
                </c:pt>
                <c:pt idx="141">
                  <c:v>18.12.21</c:v>
                </c:pt>
                <c:pt idx="142">
                  <c:v>19.12.21</c:v>
                </c:pt>
                <c:pt idx="143">
                  <c:v>20.12.21</c:v>
                </c:pt>
                <c:pt idx="144">
                  <c:v>21.12.21</c:v>
                </c:pt>
                <c:pt idx="145">
                  <c:v>22.12.21</c:v>
                </c:pt>
                <c:pt idx="146">
                  <c:v>23.12.21</c:v>
                </c:pt>
                <c:pt idx="147">
                  <c:v>24.12.21</c:v>
                </c:pt>
                <c:pt idx="148">
                  <c:v>25.12.21</c:v>
                </c:pt>
                <c:pt idx="149">
                  <c:v>26.12.21</c:v>
                </c:pt>
                <c:pt idx="150">
                  <c:v>27.12.21</c:v>
                </c:pt>
                <c:pt idx="151">
                  <c:v>28.12.21</c:v>
                </c:pt>
                <c:pt idx="152">
                  <c:v>29.12.21</c:v>
                </c:pt>
                <c:pt idx="153">
                  <c:v>30.12.21</c:v>
                </c:pt>
                <c:pt idx="154">
                  <c:v>31.12.21</c:v>
                </c:pt>
                <c:pt idx="155">
                  <c:v>01.01.22</c:v>
                </c:pt>
                <c:pt idx="156">
                  <c:v>02.01.22</c:v>
                </c:pt>
                <c:pt idx="157">
                  <c:v>03.01.22</c:v>
                </c:pt>
                <c:pt idx="158">
                  <c:v>04.01.22</c:v>
                </c:pt>
                <c:pt idx="159">
                  <c:v>05.01.22</c:v>
                </c:pt>
                <c:pt idx="160">
                  <c:v>06.01.22</c:v>
                </c:pt>
                <c:pt idx="161">
                  <c:v>07.01.22</c:v>
                </c:pt>
                <c:pt idx="162">
                  <c:v>08.01.22</c:v>
                </c:pt>
                <c:pt idx="163">
                  <c:v>09.01.22</c:v>
                </c:pt>
                <c:pt idx="164">
                  <c:v>10.01.22</c:v>
                </c:pt>
                <c:pt idx="165">
                  <c:v>11.01.22</c:v>
                </c:pt>
                <c:pt idx="166">
                  <c:v>12.01.22</c:v>
                </c:pt>
                <c:pt idx="167">
                  <c:v>13.01.22</c:v>
                </c:pt>
                <c:pt idx="168">
                  <c:v>14.01.22</c:v>
                </c:pt>
                <c:pt idx="169">
                  <c:v>15.01.22</c:v>
                </c:pt>
                <c:pt idx="170">
                  <c:v>16.01.22</c:v>
                </c:pt>
                <c:pt idx="171">
                  <c:v>17.01.22</c:v>
                </c:pt>
                <c:pt idx="172">
                  <c:v>18.01.22</c:v>
                </c:pt>
                <c:pt idx="173">
                  <c:v>19.01.22</c:v>
                </c:pt>
                <c:pt idx="174">
                  <c:v>20.01.22</c:v>
                </c:pt>
                <c:pt idx="175">
                  <c:v>21.01.22</c:v>
                </c:pt>
                <c:pt idx="176">
                  <c:v>22.01.22</c:v>
                </c:pt>
                <c:pt idx="177">
                  <c:v>23.01.22</c:v>
                </c:pt>
                <c:pt idx="178">
                  <c:v>24.01.22</c:v>
                </c:pt>
                <c:pt idx="179">
                  <c:v>25.01.22</c:v>
                </c:pt>
                <c:pt idx="180">
                  <c:v>26.01.22</c:v>
                </c:pt>
                <c:pt idx="181">
                  <c:v>27.01.22</c:v>
                </c:pt>
                <c:pt idx="182">
                  <c:v>28.01.22</c:v>
                </c:pt>
              </c:strCache>
            </c:strRef>
          </c:cat>
          <c:val>
            <c:numRef>
              <c:f>List1!$B$4:$GB$4</c:f>
              <c:numCache>
                <c:formatCode>General</c:formatCode>
                <c:ptCount val="183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3</c:v>
                </c:pt>
                <c:pt idx="5">
                  <c:v>3</c:v>
                </c:pt>
                <c:pt idx="6">
                  <c:v>1</c:v>
                </c:pt>
                <c:pt idx="7">
                  <c:v>2</c:v>
                </c:pt>
                <c:pt idx="8">
                  <c:v>1</c:v>
                </c:pt>
                <c:pt idx="9">
                  <c:v>0</c:v>
                </c:pt>
                <c:pt idx="10">
                  <c:v>7</c:v>
                </c:pt>
                <c:pt idx="11">
                  <c:v>1</c:v>
                </c:pt>
                <c:pt idx="12">
                  <c:v>1</c:v>
                </c:pt>
                <c:pt idx="13">
                  <c:v>2</c:v>
                </c:pt>
                <c:pt idx="14">
                  <c:v>6</c:v>
                </c:pt>
                <c:pt idx="15">
                  <c:v>2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0</c:v>
                </c:pt>
                <c:pt idx="21">
                  <c:v>3</c:v>
                </c:pt>
                <c:pt idx="22">
                  <c:v>2</c:v>
                </c:pt>
                <c:pt idx="23">
                  <c:v>2</c:v>
                </c:pt>
                <c:pt idx="24">
                  <c:v>1</c:v>
                </c:pt>
                <c:pt idx="25">
                  <c:v>3</c:v>
                </c:pt>
                <c:pt idx="26">
                  <c:v>5</c:v>
                </c:pt>
                <c:pt idx="27">
                  <c:v>2</c:v>
                </c:pt>
                <c:pt idx="28">
                  <c:v>2</c:v>
                </c:pt>
                <c:pt idx="29">
                  <c:v>0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2</c:v>
                </c:pt>
                <c:pt idx="34">
                  <c:v>4</c:v>
                </c:pt>
                <c:pt idx="35">
                  <c:v>6</c:v>
                </c:pt>
                <c:pt idx="36">
                  <c:v>5</c:v>
                </c:pt>
                <c:pt idx="37">
                  <c:v>1</c:v>
                </c:pt>
                <c:pt idx="38">
                  <c:v>5</c:v>
                </c:pt>
                <c:pt idx="39">
                  <c:v>4</c:v>
                </c:pt>
                <c:pt idx="40">
                  <c:v>1</c:v>
                </c:pt>
                <c:pt idx="41">
                  <c:v>3</c:v>
                </c:pt>
                <c:pt idx="42">
                  <c:v>2</c:v>
                </c:pt>
                <c:pt idx="43">
                  <c:v>0</c:v>
                </c:pt>
                <c:pt idx="44">
                  <c:v>3</c:v>
                </c:pt>
                <c:pt idx="45">
                  <c:v>2</c:v>
                </c:pt>
                <c:pt idx="46">
                  <c:v>3</c:v>
                </c:pt>
                <c:pt idx="47">
                  <c:v>5</c:v>
                </c:pt>
                <c:pt idx="48">
                  <c:v>7</c:v>
                </c:pt>
                <c:pt idx="49">
                  <c:v>4</c:v>
                </c:pt>
                <c:pt idx="50">
                  <c:v>2</c:v>
                </c:pt>
                <c:pt idx="51">
                  <c:v>5</c:v>
                </c:pt>
                <c:pt idx="52">
                  <c:v>8</c:v>
                </c:pt>
                <c:pt idx="53">
                  <c:v>9</c:v>
                </c:pt>
                <c:pt idx="54">
                  <c:v>8</c:v>
                </c:pt>
                <c:pt idx="55">
                  <c:v>5</c:v>
                </c:pt>
                <c:pt idx="56">
                  <c:v>4</c:v>
                </c:pt>
                <c:pt idx="57">
                  <c:v>4</c:v>
                </c:pt>
                <c:pt idx="58">
                  <c:v>2</c:v>
                </c:pt>
                <c:pt idx="59">
                  <c:v>8</c:v>
                </c:pt>
                <c:pt idx="60">
                  <c:v>6</c:v>
                </c:pt>
                <c:pt idx="61">
                  <c:v>8</c:v>
                </c:pt>
                <c:pt idx="62">
                  <c:v>12</c:v>
                </c:pt>
                <c:pt idx="63">
                  <c:v>8</c:v>
                </c:pt>
                <c:pt idx="64">
                  <c:v>4</c:v>
                </c:pt>
                <c:pt idx="65">
                  <c:v>7</c:v>
                </c:pt>
                <c:pt idx="66">
                  <c:v>9</c:v>
                </c:pt>
                <c:pt idx="67">
                  <c:v>12</c:v>
                </c:pt>
                <c:pt idx="68">
                  <c:v>13</c:v>
                </c:pt>
                <c:pt idx="69">
                  <c:v>15</c:v>
                </c:pt>
                <c:pt idx="70">
                  <c:v>8</c:v>
                </c:pt>
                <c:pt idx="71">
                  <c:v>7</c:v>
                </c:pt>
                <c:pt idx="72">
                  <c:v>5</c:v>
                </c:pt>
                <c:pt idx="73">
                  <c:v>19</c:v>
                </c:pt>
                <c:pt idx="74">
                  <c:v>31</c:v>
                </c:pt>
                <c:pt idx="75">
                  <c:v>18</c:v>
                </c:pt>
                <c:pt idx="76">
                  <c:v>16</c:v>
                </c:pt>
                <c:pt idx="77">
                  <c:v>14</c:v>
                </c:pt>
                <c:pt idx="78">
                  <c:v>9</c:v>
                </c:pt>
                <c:pt idx="79">
                  <c:v>13</c:v>
                </c:pt>
                <c:pt idx="80">
                  <c:v>38</c:v>
                </c:pt>
                <c:pt idx="81">
                  <c:v>53</c:v>
                </c:pt>
                <c:pt idx="82">
                  <c:v>48</c:v>
                </c:pt>
                <c:pt idx="83">
                  <c:v>53</c:v>
                </c:pt>
                <c:pt idx="84">
                  <c:v>42</c:v>
                </c:pt>
                <c:pt idx="85">
                  <c:v>27</c:v>
                </c:pt>
                <c:pt idx="86">
                  <c:v>20</c:v>
                </c:pt>
                <c:pt idx="87">
                  <c:v>76</c:v>
                </c:pt>
                <c:pt idx="88">
                  <c:v>81</c:v>
                </c:pt>
                <c:pt idx="89">
                  <c:v>64</c:v>
                </c:pt>
                <c:pt idx="90">
                  <c:v>38</c:v>
                </c:pt>
                <c:pt idx="91">
                  <c:v>79</c:v>
                </c:pt>
                <c:pt idx="92">
                  <c:v>52</c:v>
                </c:pt>
                <c:pt idx="93">
                  <c:v>40</c:v>
                </c:pt>
                <c:pt idx="94">
                  <c:v>130</c:v>
                </c:pt>
                <c:pt idx="95">
                  <c:v>128</c:v>
                </c:pt>
                <c:pt idx="96">
                  <c:v>102</c:v>
                </c:pt>
                <c:pt idx="97">
                  <c:v>107</c:v>
                </c:pt>
                <c:pt idx="98">
                  <c:v>127</c:v>
                </c:pt>
                <c:pt idx="99">
                  <c:v>53</c:v>
                </c:pt>
                <c:pt idx="100">
                  <c:v>37</c:v>
                </c:pt>
                <c:pt idx="101">
                  <c:v>127</c:v>
                </c:pt>
                <c:pt idx="102">
                  <c:v>138</c:v>
                </c:pt>
                <c:pt idx="103">
                  <c:v>139</c:v>
                </c:pt>
                <c:pt idx="104">
                  <c:v>113</c:v>
                </c:pt>
                <c:pt idx="105">
                  <c:v>158</c:v>
                </c:pt>
                <c:pt idx="106">
                  <c:v>94</c:v>
                </c:pt>
                <c:pt idx="107">
                  <c:v>49</c:v>
                </c:pt>
                <c:pt idx="108">
                  <c:v>156</c:v>
                </c:pt>
                <c:pt idx="109">
                  <c:v>192</c:v>
                </c:pt>
                <c:pt idx="110">
                  <c:v>140</c:v>
                </c:pt>
                <c:pt idx="111">
                  <c:v>157</c:v>
                </c:pt>
                <c:pt idx="112">
                  <c:v>239</c:v>
                </c:pt>
                <c:pt idx="113">
                  <c:v>118</c:v>
                </c:pt>
                <c:pt idx="114">
                  <c:v>88</c:v>
                </c:pt>
                <c:pt idx="115">
                  <c:v>197</c:v>
                </c:pt>
                <c:pt idx="116">
                  <c:v>203</c:v>
                </c:pt>
                <c:pt idx="117">
                  <c:v>170</c:v>
                </c:pt>
                <c:pt idx="118">
                  <c:v>246</c:v>
                </c:pt>
                <c:pt idx="119">
                  <c:v>141</c:v>
                </c:pt>
                <c:pt idx="120">
                  <c:v>107</c:v>
                </c:pt>
                <c:pt idx="121">
                  <c:v>81</c:v>
                </c:pt>
                <c:pt idx="122">
                  <c:v>199</c:v>
                </c:pt>
                <c:pt idx="123">
                  <c:v>178</c:v>
                </c:pt>
                <c:pt idx="124">
                  <c:v>157</c:v>
                </c:pt>
                <c:pt idx="125">
                  <c:v>124</c:v>
                </c:pt>
                <c:pt idx="126">
                  <c:v>152</c:v>
                </c:pt>
                <c:pt idx="127">
                  <c:v>94</c:v>
                </c:pt>
                <c:pt idx="128">
                  <c:v>64</c:v>
                </c:pt>
                <c:pt idx="129">
                  <c:v>187</c:v>
                </c:pt>
                <c:pt idx="130">
                  <c:v>157</c:v>
                </c:pt>
                <c:pt idx="131">
                  <c:v>128</c:v>
                </c:pt>
                <c:pt idx="132">
                  <c:v>107</c:v>
                </c:pt>
                <c:pt idx="133">
                  <c:v>88</c:v>
                </c:pt>
                <c:pt idx="134">
                  <c:v>74</c:v>
                </c:pt>
                <c:pt idx="135">
                  <c:v>59</c:v>
                </c:pt>
                <c:pt idx="136">
                  <c:v>114</c:v>
                </c:pt>
                <c:pt idx="137">
                  <c:v>164</c:v>
                </c:pt>
                <c:pt idx="138">
                  <c:v>89</c:v>
                </c:pt>
                <c:pt idx="139">
                  <c:v>86</c:v>
                </c:pt>
                <c:pt idx="140">
                  <c:v>91</c:v>
                </c:pt>
                <c:pt idx="141">
                  <c:v>58</c:v>
                </c:pt>
                <c:pt idx="142">
                  <c:v>41</c:v>
                </c:pt>
                <c:pt idx="143">
                  <c:v>99</c:v>
                </c:pt>
                <c:pt idx="144">
                  <c:v>90</c:v>
                </c:pt>
                <c:pt idx="145">
                  <c:v>43</c:v>
                </c:pt>
                <c:pt idx="146">
                  <c:v>66</c:v>
                </c:pt>
                <c:pt idx="147">
                  <c:v>20</c:v>
                </c:pt>
                <c:pt idx="148">
                  <c:v>12</c:v>
                </c:pt>
                <c:pt idx="149">
                  <c:v>21</c:v>
                </c:pt>
                <c:pt idx="150">
                  <c:v>67</c:v>
                </c:pt>
                <c:pt idx="151">
                  <c:v>91</c:v>
                </c:pt>
                <c:pt idx="152">
                  <c:v>59</c:v>
                </c:pt>
                <c:pt idx="153">
                  <c:v>59</c:v>
                </c:pt>
                <c:pt idx="154">
                  <c:v>73</c:v>
                </c:pt>
                <c:pt idx="155">
                  <c:v>12</c:v>
                </c:pt>
                <c:pt idx="156">
                  <c:v>21</c:v>
                </c:pt>
                <c:pt idx="157">
                  <c:v>90</c:v>
                </c:pt>
                <c:pt idx="158">
                  <c:v>85</c:v>
                </c:pt>
                <c:pt idx="159">
                  <c:v>68</c:v>
                </c:pt>
                <c:pt idx="160">
                  <c:v>66</c:v>
                </c:pt>
                <c:pt idx="161">
                  <c:v>63</c:v>
                </c:pt>
                <c:pt idx="162">
                  <c:v>30</c:v>
                </c:pt>
                <c:pt idx="163">
                  <c:v>27</c:v>
                </c:pt>
                <c:pt idx="164">
                  <c:v>78</c:v>
                </c:pt>
                <c:pt idx="165">
                  <c:v>106</c:v>
                </c:pt>
                <c:pt idx="166">
                  <c:v>87</c:v>
                </c:pt>
                <c:pt idx="167">
                  <c:v>71</c:v>
                </c:pt>
                <c:pt idx="168">
                  <c:v>90</c:v>
                </c:pt>
                <c:pt idx="169">
                  <c:v>56</c:v>
                </c:pt>
                <c:pt idx="170">
                  <c:v>55</c:v>
                </c:pt>
                <c:pt idx="171">
                  <c:v>180</c:v>
                </c:pt>
                <c:pt idx="172">
                  <c:v>190</c:v>
                </c:pt>
                <c:pt idx="173">
                  <c:v>215</c:v>
                </c:pt>
                <c:pt idx="174">
                  <c:v>217</c:v>
                </c:pt>
                <c:pt idx="175">
                  <c:v>206</c:v>
                </c:pt>
                <c:pt idx="176">
                  <c:v>145</c:v>
                </c:pt>
                <c:pt idx="177">
                  <c:v>111</c:v>
                </c:pt>
                <c:pt idx="178">
                  <c:v>275</c:v>
                </c:pt>
                <c:pt idx="179">
                  <c:v>308</c:v>
                </c:pt>
                <c:pt idx="180">
                  <c:v>382</c:v>
                </c:pt>
                <c:pt idx="181">
                  <c:v>303</c:v>
                </c:pt>
                <c:pt idx="182">
                  <c:v>3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ax val="5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5491925027349E-2"/>
          <c:y val="2.8733097084892491E-2"/>
          <c:w val="0.69322079746689458"/>
          <c:h val="0.83918438300516462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2.331278320671922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4472C4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4.114706235985942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B$1</c:f>
              <c:strCache>
                <c:ptCount val="183"/>
                <c:pt idx="0">
                  <c:v>30.07.21</c:v>
                </c:pt>
                <c:pt idx="1">
                  <c:v>31.07.21</c:v>
                </c:pt>
                <c:pt idx="2">
                  <c:v>01.08.21</c:v>
                </c:pt>
                <c:pt idx="3">
                  <c:v>02.08.21</c:v>
                </c:pt>
                <c:pt idx="4">
                  <c:v>03.08.21</c:v>
                </c:pt>
                <c:pt idx="5">
                  <c:v>04.08.21</c:v>
                </c:pt>
                <c:pt idx="6">
                  <c:v>05.08.21</c:v>
                </c:pt>
                <c:pt idx="7">
                  <c:v>06.08.21</c:v>
                </c:pt>
                <c:pt idx="8">
                  <c:v>07.08.21</c:v>
                </c:pt>
                <c:pt idx="9">
                  <c:v>08.08.21</c:v>
                </c:pt>
                <c:pt idx="10">
                  <c:v>09.08.21</c:v>
                </c:pt>
                <c:pt idx="11">
                  <c:v>10.08.21</c:v>
                </c:pt>
                <c:pt idx="12">
                  <c:v>11.08.21</c:v>
                </c:pt>
                <c:pt idx="13">
                  <c:v>12.08.21</c:v>
                </c:pt>
                <c:pt idx="14">
                  <c:v>13.08.21</c:v>
                </c:pt>
                <c:pt idx="15">
                  <c:v>14.08.21</c:v>
                </c:pt>
                <c:pt idx="16">
                  <c:v>15.08.21</c:v>
                </c:pt>
                <c:pt idx="17">
                  <c:v>16.08.21</c:v>
                </c:pt>
                <c:pt idx="18">
                  <c:v>17.08.21</c:v>
                </c:pt>
                <c:pt idx="19">
                  <c:v>18.08.21</c:v>
                </c:pt>
                <c:pt idx="20">
                  <c:v>19.08.21</c:v>
                </c:pt>
                <c:pt idx="21">
                  <c:v>20.08.21</c:v>
                </c:pt>
                <c:pt idx="22">
                  <c:v>21.08.21</c:v>
                </c:pt>
                <c:pt idx="23">
                  <c:v>22.08.21</c:v>
                </c:pt>
                <c:pt idx="24">
                  <c:v>23.08.21</c:v>
                </c:pt>
                <c:pt idx="25">
                  <c:v>24.08.21</c:v>
                </c:pt>
                <c:pt idx="26">
                  <c:v>25.08.21</c:v>
                </c:pt>
                <c:pt idx="27">
                  <c:v>26.08.21</c:v>
                </c:pt>
                <c:pt idx="28">
                  <c:v>27.08.21</c:v>
                </c:pt>
                <c:pt idx="29">
                  <c:v>28.08.21</c:v>
                </c:pt>
                <c:pt idx="30">
                  <c:v>29.08.21</c:v>
                </c:pt>
                <c:pt idx="31">
                  <c:v>30.08.21</c:v>
                </c:pt>
                <c:pt idx="32">
                  <c:v>31.08.21</c:v>
                </c:pt>
                <c:pt idx="33">
                  <c:v>01.09.21</c:v>
                </c:pt>
                <c:pt idx="34">
                  <c:v>02.09.21</c:v>
                </c:pt>
                <c:pt idx="35">
                  <c:v>03.09.21</c:v>
                </c:pt>
                <c:pt idx="36">
                  <c:v>04.09.21</c:v>
                </c:pt>
                <c:pt idx="37">
                  <c:v>05.09.21</c:v>
                </c:pt>
                <c:pt idx="38">
                  <c:v>06.09.21</c:v>
                </c:pt>
                <c:pt idx="39">
                  <c:v>07.09.21</c:v>
                </c:pt>
                <c:pt idx="40">
                  <c:v>08.09.21</c:v>
                </c:pt>
                <c:pt idx="41">
                  <c:v>09.09.21</c:v>
                </c:pt>
                <c:pt idx="42">
                  <c:v>10.09.21</c:v>
                </c:pt>
                <c:pt idx="43">
                  <c:v>11.09.21</c:v>
                </c:pt>
                <c:pt idx="44">
                  <c:v>12.09.21</c:v>
                </c:pt>
                <c:pt idx="45">
                  <c:v>13.09.21</c:v>
                </c:pt>
                <c:pt idx="46">
                  <c:v>14.09.21</c:v>
                </c:pt>
                <c:pt idx="47">
                  <c:v>15.09.21</c:v>
                </c:pt>
                <c:pt idx="48">
                  <c:v>16.09.21</c:v>
                </c:pt>
                <c:pt idx="49">
                  <c:v>17.09.21</c:v>
                </c:pt>
                <c:pt idx="50">
                  <c:v>18.09.21</c:v>
                </c:pt>
                <c:pt idx="51">
                  <c:v>19.09.21</c:v>
                </c:pt>
                <c:pt idx="52">
                  <c:v>20.09.21</c:v>
                </c:pt>
                <c:pt idx="53">
                  <c:v>21.09.21</c:v>
                </c:pt>
                <c:pt idx="54">
                  <c:v>22.09.21</c:v>
                </c:pt>
                <c:pt idx="55">
                  <c:v>23.09.21</c:v>
                </c:pt>
                <c:pt idx="56">
                  <c:v>24.09.21</c:v>
                </c:pt>
                <c:pt idx="57">
                  <c:v>25.09.21</c:v>
                </c:pt>
                <c:pt idx="58">
                  <c:v>26.09.21</c:v>
                </c:pt>
                <c:pt idx="59">
                  <c:v>27.09.21</c:v>
                </c:pt>
                <c:pt idx="60">
                  <c:v>28.09.21</c:v>
                </c:pt>
                <c:pt idx="61">
                  <c:v>29.09.21</c:v>
                </c:pt>
                <c:pt idx="62">
                  <c:v>30.09.21</c:v>
                </c:pt>
                <c:pt idx="63">
                  <c:v>01.10.21</c:v>
                </c:pt>
                <c:pt idx="64">
                  <c:v>02.10.21</c:v>
                </c:pt>
                <c:pt idx="65">
                  <c:v>03.10.21</c:v>
                </c:pt>
                <c:pt idx="66">
                  <c:v>04.10.21</c:v>
                </c:pt>
                <c:pt idx="67">
                  <c:v>05.10.21</c:v>
                </c:pt>
                <c:pt idx="68">
                  <c:v>06.10.21</c:v>
                </c:pt>
                <c:pt idx="69">
                  <c:v>07.10.21</c:v>
                </c:pt>
                <c:pt idx="70">
                  <c:v>08.10.21</c:v>
                </c:pt>
                <c:pt idx="71">
                  <c:v>09.10.21</c:v>
                </c:pt>
                <c:pt idx="72">
                  <c:v>10.10.21</c:v>
                </c:pt>
                <c:pt idx="73">
                  <c:v>11.10.21</c:v>
                </c:pt>
                <c:pt idx="74">
                  <c:v>12.10.21</c:v>
                </c:pt>
                <c:pt idx="75">
                  <c:v>13.10.21</c:v>
                </c:pt>
                <c:pt idx="76">
                  <c:v>14.10.21</c:v>
                </c:pt>
                <c:pt idx="77">
                  <c:v>15.10.21</c:v>
                </c:pt>
                <c:pt idx="78">
                  <c:v>16.10.21</c:v>
                </c:pt>
                <c:pt idx="79">
                  <c:v>17.10.21</c:v>
                </c:pt>
                <c:pt idx="80">
                  <c:v>18.10.21</c:v>
                </c:pt>
                <c:pt idx="81">
                  <c:v>19.10.21</c:v>
                </c:pt>
                <c:pt idx="82">
                  <c:v>20.10.21</c:v>
                </c:pt>
                <c:pt idx="83">
                  <c:v>21.10.21</c:v>
                </c:pt>
                <c:pt idx="84">
                  <c:v>22.10.21</c:v>
                </c:pt>
                <c:pt idx="85">
                  <c:v>23.10.21</c:v>
                </c:pt>
                <c:pt idx="86">
                  <c:v>24.10.21</c:v>
                </c:pt>
                <c:pt idx="87">
                  <c:v>25.10.21</c:v>
                </c:pt>
                <c:pt idx="88">
                  <c:v>26.10.21</c:v>
                </c:pt>
                <c:pt idx="89">
                  <c:v>27.10.21</c:v>
                </c:pt>
                <c:pt idx="90">
                  <c:v>28.10.21</c:v>
                </c:pt>
                <c:pt idx="91">
                  <c:v>29.10.21</c:v>
                </c:pt>
                <c:pt idx="92">
                  <c:v>30.10.21</c:v>
                </c:pt>
                <c:pt idx="93">
                  <c:v>31.10.21</c:v>
                </c:pt>
                <c:pt idx="94">
                  <c:v>01.11.21</c:v>
                </c:pt>
                <c:pt idx="95">
                  <c:v>02.11.21</c:v>
                </c:pt>
                <c:pt idx="96">
                  <c:v>03.11.21</c:v>
                </c:pt>
                <c:pt idx="97">
                  <c:v>04.11.21</c:v>
                </c:pt>
                <c:pt idx="98">
                  <c:v>05.11.21</c:v>
                </c:pt>
                <c:pt idx="99">
                  <c:v>06.11.21</c:v>
                </c:pt>
                <c:pt idx="100">
                  <c:v>07.11.21</c:v>
                </c:pt>
                <c:pt idx="101">
                  <c:v>08.11.21</c:v>
                </c:pt>
                <c:pt idx="102">
                  <c:v>09.11.21</c:v>
                </c:pt>
                <c:pt idx="103">
                  <c:v>10.11.21</c:v>
                </c:pt>
                <c:pt idx="104">
                  <c:v>11.11.21</c:v>
                </c:pt>
                <c:pt idx="105">
                  <c:v>12.11.21</c:v>
                </c:pt>
                <c:pt idx="106">
                  <c:v>13.11.21</c:v>
                </c:pt>
                <c:pt idx="107">
                  <c:v>14.11.21</c:v>
                </c:pt>
                <c:pt idx="108">
                  <c:v>15.11.21</c:v>
                </c:pt>
                <c:pt idx="109">
                  <c:v>16.11.21</c:v>
                </c:pt>
                <c:pt idx="110">
                  <c:v>17.11.21</c:v>
                </c:pt>
                <c:pt idx="111">
                  <c:v>18.11.21</c:v>
                </c:pt>
                <c:pt idx="112">
                  <c:v>19.11.21</c:v>
                </c:pt>
                <c:pt idx="113">
                  <c:v>20.11.21</c:v>
                </c:pt>
                <c:pt idx="114">
                  <c:v>21.11.21</c:v>
                </c:pt>
                <c:pt idx="115">
                  <c:v>22.11.21</c:v>
                </c:pt>
                <c:pt idx="116">
                  <c:v>23.11.21</c:v>
                </c:pt>
                <c:pt idx="117">
                  <c:v>24.11.21</c:v>
                </c:pt>
                <c:pt idx="118">
                  <c:v>25.11.21</c:v>
                </c:pt>
                <c:pt idx="119">
                  <c:v>26.11.21</c:v>
                </c:pt>
                <c:pt idx="120">
                  <c:v>27.11.21</c:v>
                </c:pt>
                <c:pt idx="121">
                  <c:v>28.11.21</c:v>
                </c:pt>
                <c:pt idx="122">
                  <c:v>29.11.21</c:v>
                </c:pt>
                <c:pt idx="123">
                  <c:v>30.11.21</c:v>
                </c:pt>
                <c:pt idx="124">
                  <c:v>01.12.21</c:v>
                </c:pt>
                <c:pt idx="125">
                  <c:v>02.12.21</c:v>
                </c:pt>
                <c:pt idx="126">
                  <c:v>03.12.21</c:v>
                </c:pt>
                <c:pt idx="127">
                  <c:v>04.12.21</c:v>
                </c:pt>
                <c:pt idx="128">
                  <c:v>05.12.21</c:v>
                </c:pt>
                <c:pt idx="129">
                  <c:v>06.12.21</c:v>
                </c:pt>
                <c:pt idx="130">
                  <c:v>07.12.21</c:v>
                </c:pt>
                <c:pt idx="131">
                  <c:v>08.12.21</c:v>
                </c:pt>
                <c:pt idx="132">
                  <c:v>09.12.21</c:v>
                </c:pt>
                <c:pt idx="133">
                  <c:v>10.12.21</c:v>
                </c:pt>
                <c:pt idx="134">
                  <c:v>11.12.21</c:v>
                </c:pt>
                <c:pt idx="135">
                  <c:v>12.12.21</c:v>
                </c:pt>
                <c:pt idx="136">
                  <c:v>13.12.21</c:v>
                </c:pt>
                <c:pt idx="137">
                  <c:v>14.12.21</c:v>
                </c:pt>
                <c:pt idx="138">
                  <c:v>15.12.21</c:v>
                </c:pt>
                <c:pt idx="139">
                  <c:v>16.12.21</c:v>
                </c:pt>
                <c:pt idx="140">
                  <c:v>17.12.21</c:v>
                </c:pt>
                <c:pt idx="141">
                  <c:v>18.12.21</c:v>
                </c:pt>
                <c:pt idx="142">
                  <c:v>19.12.21</c:v>
                </c:pt>
                <c:pt idx="143">
                  <c:v>20.12.21</c:v>
                </c:pt>
                <c:pt idx="144">
                  <c:v>21.12.21</c:v>
                </c:pt>
                <c:pt idx="145">
                  <c:v>22.12.21</c:v>
                </c:pt>
                <c:pt idx="146">
                  <c:v>23.12.21</c:v>
                </c:pt>
                <c:pt idx="147">
                  <c:v>24.12.21</c:v>
                </c:pt>
                <c:pt idx="148">
                  <c:v>25.12.21</c:v>
                </c:pt>
                <c:pt idx="149">
                  <c:v>26.12.21</c:v>
                </c:pt>
                <c:pt idx="150">
                  <c:v>27.12.21</c:v>
                </c:pt>
                <c:pt idx="151">
                  <c:v>28.12.21</c:v>
                </c:pt>
                <c:pt idx="152">
                  <c:v>29.12.21</c:v>
                </c:pt>
                <c:pt idx="153">
                  <c:v>30.12.21</c:v>
                </c:pt>
                <c:pt idx="154">
                  <c:v>31.12.21</c:v>
                </c:pt>
                <c:pt idx="155">
                  <c:v>01.01.22</c:v>
                </c:pt>
                <c:pt idx="156">
                  <c:v>02.01.22</c:v>
                </c:pt>
                <c:pt idx="157">
                  <c:v>03.01.22</c:v>
                </c:pt>
                <c:pt idx="158">
                  <c:v>04.01.22</c:v>
                </c:pt>
                <c:pt idx="159">
                  <c:v>05.01.22</c:v>
                </c:pt>
                <c:pt idx="160">
                  <c:v>06.01.22</c:v>
                </c:pt>
                <c:pt idx="161">
                  <c:v>07.01.22</c:v>
                </c:pt>
                <c:pt idx="162">
                  <c:v>08.01.22</c:v>
                </c:pt>
                <c:pt idx="163">
                  <c:v>09.01.22</c:v>
                </c:pt>
                <c:pt idx="164">
                  <c:v>10.01.22</c:v>
                </c:pt>
                <c:pt idx="165">
                  <c:v>11.01.22</c:v>
                </c:pt>
                <c:pt idx="166">
                  <c:v>12.01.22</c:v>
                </c:pt>
                <c:pt idx="167">
                  <c:v>13.01.22</c:v>
                </c:pt>
                <c:pt idx="168">
                  <c:v>14.01.22</c:v>
                </c:pt>
                <c:pt idx="169">
                  <c:v>15.01.22</c:v>
                </c:pt>
                <c:pt idx="170">
                  <c:v>16.01.22</c:v>
                </c:pt>
                <c:pt idx="171">
                  <c:v>17.01.22</c:v>
                </c:pt>
                <c:pt idx="172">
                  <c:v>18.01.22</c:v>
                </c:pt>
                <c:pt idx="173">
                  <c:v>19.01.22</c:v>
                </c:pt>
                <c:pt idx="174">
                  <c:v>20.01.22</c:v>
                </c:pt>
                <c:pt idx="175">
                  <c:v>21.01.22</c:v>
                </c:pt>
                <c:pt idx="176">
                  <c:v>22.01.22</c:v>
                </c:pt>
                <c:pt idx="177">
                  <c:v>23.01.22</c:v>
                </c:pt>
                <c:pt idx="178">
                  <c:v>24.01.22</c:v>
                </c:pt>
                <c:pt idx="179">
                  <c:v>25.01.22</c:v>
                </c:pt>
                <c:pt idx="180">
                  <c:v>26.01.22</c:v>
                </c:pt>
                <c:pt idx="181">
                  <c:v>27.01.22</c:v>
                </c:pt>
                <c:pt idx="182">
                  <c:v>28.01.22</c:v>
                </c:pt>
              </c:strCache>
            </c:strRef>
          </c:cat>
          <c:val>
            <c:numRef>
              <c:f>List1!$B$2:$GB$2</c:f>
              <c:numCache>
                <c:formatCode>General</c:formatCode>
                <c:ptCount val="183"/>
                <c:pt idx="0">
                  <c:v>38</c:v>
                </c:pt>
                <c:pt idx="1">
                  <c:v>37</c:v>
                </c:pt>
                <c:pt idx="2">
                  <c:v>36</c:v>
                </c:pt>
                <c:pt idx="3">
                  <c:v>34</c:v>
                </c:pt>
                <c:pt idx="4">
                  <c:v>32</c:v>
                </c:pt>
                <c:pt idx="5">
                  <c:v>35</c:v>
                </c:pt>
                <c:pt idx="6">
                  <c:v>33</c:v>
                </c:pt>
                <c:pt idx="7">
                  <c:v>35</c:v>
                </c:pt>
                <c:pt idx="8">
                  <c:v>32</c:v>
                </c:pt>
                <c:pt idx="9">
                  <c:v>34</c:v>
                </c:pt>
                <c:pt idx="10">
                  <c:v>34</c:v>
                </c:pt>
                <c:pt idx="11">
                  <c:v>34</c:v>
                </c:pt>
                <c:pt idx="12">
                  <c:v>34</c:v>
                </c:pt>
                <c:pt idx="13">
                  <c:v>35</c:v>
                </c:pt>
                <c:pt idx="14">
                  <c:v>35</c:v>
                </c:pt>
                <c:pt idx="15">
                  <c:v>35</c:v>
                </c:pt>
                <c:pt idx="16">
                  <c:v>35</c:v>
                </c:pt>
                <c:pt idx="17">
                  <c:v>38</c:v>
                </c:pt>
                <c:pt idx="18">
                  <c:v>35</c:v>
                </c:pt>
                <c:pt idx="19">
                  <c:v>32</c:v>
                </c:pt>
                <c:pt idx="20">
                  <c:v>32</c:v>
                </c:pt>
                <c:pt idx="21">
                  <c:v>31</c:v>
                </c:pt>
                <c:pt idx="22">
                  <c:v>30</c:v>
                </c:pt>
                <c:pt idx="23">
                  <c:v>28</c:v>
                </c:pt>
                <c:pt idx="24">
                  <c:v>29</c:v>
                </c:pt>
                <c:pt idx="25">
                  <c:v>28</c:v>
                </c:pt>
                <c:pt idx="26">
                  <c:v>26</c:v>
                </c:pt>
                <c:pt idx="27">
                  <c:v>27</c:v>
                </c:pt>
                <c:pt idx="28">
                  <c:v>27</c:v>
                </c:pt>
                <c:pt idx="29">
                  <c:v>28</c:v>
                </c:pt>
                <c:pt idx="30">
                  <c:v>27</c:v>
                </c:pt>
                <c:pt idx="31">
                  <c:v>25</c:v>
                </c:pt>
                <c:pt idx="32">
                  <c:v>29</c:v>
                </c:pt>
                <c:pt idx="33">
                  <c:v>32</c:v>
                </c:pt>
                <c:pt idx="34">
                  <c:v>33</c:v>
                </c:pt>
                <c:pt idx="35">
                  <c:v>33</c:v>
                </c:pt>
                <c:pt idx="36">
                  <c:v>36</c:v>
                </c:pt>
                <c:pt idx="37">
                  <c:v>37</c:v>
                </c:pt>
                <c:pt idx="38">
                  <c:v>35</c:v>
                </c:pt>
                <c:pt idx="39">
                  <c:v>36</c:v>
                </c:pt>
                <c:pt idx="40">
                  <c:v>35</c:v>
                </c:pt>
                <c:pt idx="41">
                  <c:v>35</c:v>
                </c:pt>
                <c:pt idx="42">
                  <c:v>36</c:v>
                </c:pt>
                <c:pt idx="43">
                  <c:v>39</c:v>
                </c:pt>
                <c:pt idx="44">
                  <c:v>38</c:v>
                </c:pt>
                <c:pt idx="45">
                  <c:v>40</c:v>
                </c:pt>
                <c:pt idx="46">
                  <c:v>39</c:v>
                </c:pt>
                <c:pt idx="47">
                  <c:v>36</c:v>
                </c:pt>
                <c:pt idx="48">
                  <c:v>37</c:v>
                </c:pt>
                <c:pt idx="49">
                  <c:v>37</c:v>
                </c:pt>
                <c:pt idx="50">
                  <c:v>36</c:v>
                </c:pt>
                <c:pt idx="51">
                  <c:v>36</c:v>
                </c:pt>
                <c:pt idx="52">
                  <c:v>34</c:v>
                </c:pt>
                <c:pt idx="53">
                  <c:v>37</c:v>
                </c:pt>
                <c:pt idx="54">
                  <c:v>40</c:v>
                </c:pt>
                <c:pt idx="55">
                  <c:v>40</c:v>
                </c:pt>
                <c:pt idx="56">
                  <c:v>41</c:v>
                </c:pt>
                <c:pt idx="57">
                  <c:v>39</c:v>
                </c:pt>
                <c:pt idx="58">
                  <c:v>39</c:v>
                </c:pt>
                <c:pt idx="59">
                  <c:v>41</c:v>
                </c:pt>
                <c:pt idx="60">
                  <c:v>45</c:v>
                </c:pt>
                <c:pt idx="61">
                  <c:v>48</c:v>
                </c:pt>
                <c:pt idx="62">
                  <c:v>56</c:v>
                </c:pt>
                <c:pt idx="63">
                  <c:v>57</c:v>
                </c:pt>
                <c:pt idx="64">
                  <c:v>61</c:v>
                </c:pt>
                <c:pt idx="65">
                  <c:v>61</c:v>
                </c:pt>
                <c:pt idx="66">
                  <c:v>60</c:v>
                </c:pt>
                <c:pt idx="67">
                  <c:v>59</c:v>
                </c:pt>
                <c:pt idx="68">
                  <c:v>60</c:v>
                </c:pt>
                <c:pt idx="69">
                  <c:v>65</c:v>
                </c:pt>
                <c:pt idx="70">
                  <c:v>68</c:v>
                </c:pt>
                <c:pt idx="71">
                  <c:v>69</c:v>
                </c:pt>
                <c:pt idx="72">
                  <c:v>68</c:v>
                </c:pt>
                <c:pt idx="73">
                  <c:v>62</c:v>
                </c:pt>
                <c:pt idx="74">
                  <c:v>71</c:v>
                </c:pt>
                <c:pt idx="75">
                  <c:v>68</c:v>
                </c:pt>
                <c:pt idx="76">
                  <c:v>71</c:v>
                </c:pt>
                <c:pt idx="77">
                  <c:v>74</c:v>
                </c:pt>
                <c:pt idx="78">
                  <c:v>77</c:v>
                </c:pt>
                <c:pt idx="79">
                  <c:v>83</c:v>
                </c:pt>
                <c:pt idx="80">
                  <c:v>100</c:v>
                </c:pt>
                <c:pt idx="81">
                  <c:v>113</c:v>
                </c:pt>
                <c:pt idx="82">
                  <c:v>121</c:v>
                </c:pt>
                <c:pt idx="83">
                  <c:v>128</c:v>
                </c:pt>
                <c:pt idx="84">
                  <c:v>139</c:v>
                </c:pt>
                <c:pt idx="85">
                  <c:v>152</c:v>
                </c:pt>
                <c:pt idx="86">
                  <c:v>162</c:v>
                </c:pt>
                <c:pt idx="87">
                  <c:v>187</c:v>
                </c:pt>
                <c:pt idx="88">
                  <c:v>194</c:v>
                </c:pt>
                <c:pt idx="89">
                  <c:v>213</c:v>
                </c:pt>
                <c:pt idx="90">
                  <c:v>227</c:v>
                </c:pt>
                <c:pt idx="91">
                  <c:v>257</c:v>
                </c:pt>
                <c:pt idx="92">
                  <c:v>273</c:v>
                </c:pt>
                <c:pt idx="93">
                  <c:v>279</c:v>
                </c:pt>
                <c:pt idx="94">
                  <c:v>318</c:v>
                </c:pt>
                <c:pt idx="95">
                  <c:v>340</c:v>
                </c:pt>
                <c:pt idx="96">
                  <c:v>363</c:v>
                </c:pt>
                <c:pt idx="97">
                  <c:v>377</c:v>
                </c:pt>
                <c:pt idx="98">
                  <c:v>395</c:v>
                </c:pt>
                <c:pt idx="99">
                  <c:v>403</c:v>
                </c:pt>
                <c:pt idx="100">
                  <c:v>411</c:v>
                </c:pt>
                <c:pt idx="101">
                  <c:v>432</c:v>
                </c:pt>
                <c:pt idx="102">
                  <c:v>462</c:v>
                </c:pt>
                <c:pt idx="103">
                  <c:v>479</c:v>
                </c:pt>
                <c:pt idx="104">
                  <c:v>512</c:v>
                </c:pt>
                <c:pt idx="105">
                  <c:v>511</c:v>
                </c:pt>
                <c:pt idx="106">
                  <c:v>546</c:v>
                </c:pt>
                <c:pt idx="107">
                  <c:v>551</c:v>
                </c:pt>
                <c:pt idx="108">
                  <c:v>550</c:v>
                </c:pt>
                <c:pt idx="109">
                  <c:v>576</c:v>
                </c:pt>
                <c:pt idx="110">
                  <c:v>582</c:v>
                </c:pt>
                <c:pt idx="111">
                  <c:v>607</c:v>
                </c:pt>
                <c:pt idx="112">
                  <c:v>649</c:v>
                </c:pt>
                <c:pt idx="113">
                  <c:v>677</c:v>
                </c:pt>
                <c:pt idx="114">
                  <c:v>681</c:v>
                </c:pt>
                <c:pt idx="115">
                  <c:v>677</c:v>
                </c:pt>
                <c:pt idx="116">
                  <c:v>715</c:v>
                </c:pt>
                <c:pt idx="117">
                  <c:v>703</c:v>
                </c:pt>
                <c:pt idx="118">
                  <c:v>719</c:v>
                </c:pt>
                <c:pt idx="119">
                  <c:v>711</c:v>
                </c:pt>
                <c:pt idx="120">
                  <c:v>716</c:v>
                </c:pt>
                <c:pt idx="121">
                  <c:v>731</c:v>
                </c:pt>
                <c:pt idx="122">
                  <c:v>721</c:v>
                </c:pt>
                <c:pt idx="123">
                  <c:v>715</c:v>
                </c:pt>
                <c:pt idx="124">
                  <c:v>730</c:v>
                </c:pt>
                <c:pt idx="125">
                  <c:v>701</c:v>
                </c:pt>
                <c:pt idx="126">
                  <c:v>674</c:v>
                </c:pt>
                <c:pt idx="127">
                  <c:v>668</c:v>
                </c:pt>
                <c:pt idx="128">
                  <c:v>650</c:v>
                </c:pt>
                <c:pt idx="129">
                  <c:v>609</c:v>
                </c:pt>
                <c:pt idx="130">
                  <c:v>589</c:v>
                </c:pt>
                <c:pt idx="131">
                  <c:v>577</c:v>
                </c:pt>
                <c:pt idx="132">
                  <c:v>549</c:v>
                </c:pt>
                <c:pt idx="133">
                  <c:v>528</c:v>
                </c:pt>
                <c:pt idx="134">
                  <c:v>517</c:v>
                </c:pt>
                <c:pt idx="135">
                  <c:v>496</c:v>
                </c:pt>
                <c:pt idx="136">
                  <c:v>465</c:v>
                </c:pt>
                <c:pt idx="137">
                  <c:v>443</c:v>
                </c:pt>
                <c:pt idx="138">
                  <c:v>420</c:v>
                </c:pt>
                <c:pt idx="139">
                  <c:v>392</c:v>
                </c:pt>
                <c:pt idx="140">
                  <c:v>369</c:v>
                </c:pt>
                <c:pt idx="141">
                  <c:v>366</c:v>
                </c:pt>
                <c:pt idx="142">
                  <c:v>364</c:v>
                </c:pt>
                <c:pt idx="143">
                  <c:v>338</c:v>
                </c:pt>
                <c:pt idx="144">
                  <c:v>337</c:v>
                </c:pt>
                <c:pt idx="145">
                  <c:v>323</c:v>
                </c:pt>
                <c:pt idx="146">
                  <c:v>313</c:v>
                </c:pt>
                <c:pt idx="147">
                  <c:v>285</c:v>
                </c:pt>
                <c:pt idx="148">
                  <c:v>282</c:v>
                </c:pt>
                <c:pt idx="149">
                  <c:v>278</c:v>
                </c:pt>
                <c:pt idx="150">
                  <c:v>267</c:v>
                </c:pt>
                <c:pt idx="151">
                  <c:v>273</c:v>
                </c:pt>
                <c:pt idx="152">
                  <c:v>277</c:v>
                </c:pt>
                <c:pt idx="153">
                  <c:v>278</c:v>
                </c:pt>
                <c:pt idx="154">
                  <c:v>273</c:v>
                </c:pt>
                <c:pt idx="155">
                  <c:v>264</c:v>
                </c:pt>
                <c:pt idx="156">
                  <c:v>272</c:v>
                </c:pt>
                <c:pt idx="157">
                  <c:v>271</c:v>
                </c:pt>
                <c:pt idx="158">
                  <c:v>275</c:v>
                </c:pt>
                <c:pt idx="159">
                  <c:v>278</c:v>
                </c:pt>
                <c:pt idx="160">
                  <c:v>287</c:v>
                </c:pt>
                <c:pt idx="161">
                  <c:v>300</c:v>
                </c:pt>
                <c:pt idx="162">
                  <c:v>303</c:v>
                </c:pt>
                <c:pt idx="163">
                  <c:v>309</c:v>
                </c:pt>
                <c:pt idx="164">
                  <c:v>307</c:v>
                </c:pt>
                <c:pt idx="165">
                  <c:v>324</c:v>
                </c:pt>
                <c:pt idx="166">
                  <c:v>374</c:v>
                </c:pt>
                <c:pt idx="167">
                  <c:v>391</c:v>
                </c:pt>
                <c:pt idx="168">
                  <c:v>423</c:v>
                </c:pt>
                <c:pt idx="169">
                  <c:v>441</c:v>
                </c:pt>
                <c:pt idx="170">
                  <c:v>459</c:v>
                </c:pt>
                <c:pt idx="171">
                  <c:v>533</c:v>
                </c:pt>
                <c:pt idx="172">
                  <c:v>600</c:v>
                </c:pt>
                <c:pt idx="173">
                  <c:v>690</c:v>
                </c:pt>
                <c:pt idx="174">
                  <c:v>776</c:v>
                </c:pt>
                <c:pt idx="175">
                  <c:v>785</c:v>
                </c:pt>
                <c:pt idx="176">
                  <c:v>767</c:v>
                </c:pt>
                <c:pt idx="177">
                  <c:v>784</c:v>
                </c:pt>
                <c:pt idx="178">
                  <c:v>880</c:v>
                </c:pt>
                <c:pt idx="179">
                  <c:v>990</c:v>
                </c:pt>
                <c:pt idx="180">
                  <c:v>1110</c:v>
                </c:pt>
                <c:pt idx="181">
                  <c:v>1129</c:v>
                </c:pt>
                <c:pt idx="182">
                  <c:v>11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7CD-4BA3-857E-B86804E5EE02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28575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1.7754105636927238E-3"/>
                  <c:y val="9.1782611050075675E-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ED7D31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197070572569906"/>
                      <c:h val="4.732494990964000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B$1:$GB$1</c:f>
              <c:strCache>
                <c:ptCount val="183"/>
                <c:pt idx="0">
                  <c:v>30.07.21</c:v>
                </c:pt>
                <c:pt idx="1">
                  <c:v>31.07.21</c:v>
                </c:pt>
                <c:pt idx="2">
                  <c:v>01.08.21</c:v>
                </c:pt>
                <c:pt idx="3">
                  <c:v>02.08.21</c:v>
                </c:pt>
                <c:pt idx="4">
                  <c:v>03.08.21</c:v>
                </c:pt>
                <c:pt idx="5">
                  <c:v>04.08.21</c:v>
                </c:pt>
                <c:pt idx="6">
                  <c:v>05.08.21</c:v>
                </c:pt>
                <c:pt idx="7">
                  <c:v>06.08.21</c:v>
                </c:pt>
                <c:pt idx="8">
                  <c:v>07.08.21</c:v>
                </c:pt>
                <c:pt idx="9">
                  <c:v>08.08.21</c:v>
                </c:pt>
                <c:pt idx="10">
                  <c:v>09.08.21</c:v>
                </c:pt>
                <c:pt idx="11">
                  <c:v>10.08.21</c:v>
                </c:pt>
                <c:pt idx="12">
                  <c:v>11.08.21</c:v>
                </c:pt>
                <c:pt idx="13">
                  <c:v>12.08.21</c:v>
                </c:pt>
                <c:pt idx="14">
                  <c:v>13.08.21</c:v>
                </c:pt>
                <c:pt idx="15">
                  <c:v>14.08.21</c:v>
                </c:pt>
                <c:pt idx="16">
                  <c:v>15.08.21</c:v>
                </c:pt>
                <c:pt idx="17">
                  <c:v>16.08.21</c:v>
                </c:pt>
                <c:pt idx="18">
                  <c:v>17.08.21</c:v>
                </c:pt>
                <c:pt idx="19">
                  <c:v>18.08.21</c:v>
                </c:pt>
                <c:pt idx="20">
                  <c:v>19.08.21</c:v>
                </c:pt>
                <c:pt idx="21">
                  <c:v>20.08.21</c:v>
                </c:pt>
                <c:pt idx="22">
                  <c:v>21.08.21</c:v>
                </c:pt>
                <c:pt idx="23">
                  <c:v>22.08.21</c:v>
                </c:pt>
                <c:pt idx="24">
                  <c:v>23.08.21</c:v>
                </c:pt>
                <c:pt idx="25">
                  <c:v>24.08.21</c:v>
                </c:pt>
                <c:pt idx="26">
                  <c:v>25.08.21</c:v>
                </c:pt>
                <c:pt idx="27">
                  <c:v>26.08.21</c:v>
                </c:pt>
                <c:pt idx="28">
                  <c:v>27.08.21</c:v>
                </c:pt>
                <c:pt idx="29">
                  <c:v>28.08.21</c:v>
                </c:pt>
                <c:pt idx="30">
                  <c:v>29.08.21</c:v>
                </c:pt>
                <c:pt idx="31">
                  <c:v>30.08.21</c:v>
                </c:pt>
                <c:pt idx="32">
                  <c:v>31.08.21</c:v>
                </c:pt>
                <c:pt idx="33">
                  <c:v>01.09.21</c:v>
                </c:pt>
                <c:pt idx="34">
                  <c:v>02.09.21</c:v>
                </c:pt>
                <c:pt idx="35">
                  <c:v>03.09.21</c:v>
                </c:pt>
                <c:pt idx="36">
                  <c:v>04.09.21</c:v>
                </c:pt>
                <c:pt idx="37">
                  <c:v>05.09.21</c:v>
                </c:pt>
                <c:pt idx="38">
                  <c:v>06.09.21</c:v>
                </c:pt>
                <c:pt idx="39">
                  <c:v>07.09.21</c:v>
                </c:pt>
                <c:pt idx="40">
                  <c:v>08.09.21</c:v>
                </c:pt>
                <c:pt idx="41">
                  <c:v>09.09.21</c:v>
                </c:pt>
                <c:pt idx="42">
                  <c:v>10.09.21</c:v>
                </c:pt>
                <c:pt idx="43">
                  <c:v>11.09.21</c:v>
                </c:pt>
                <c:pt idx="44">
                  <c:v>12.09.21</c:v>
                </c:pt>
                <c:pt idx="45">
                  <c:v>13.09.21</c:v>
                </c:pt>
                <c:pt idx="46">
                  <c:v>14.09.21</c:v>
                </c:pt>
                <c:pt idx="47">
                  <c:v>15.09.21</c:v>
                </c:pt>
                <c:pt idx="48">
                  <c:v>16.09.21</c:v>
                </c:pt>
                <c:pt idx="49">
                  <c:v>17.09.21</c:v>
                </c:pt>
                <c:pt idx="50">
                  <c:v>18.09.21</c:v>
                </c:pt>
                <c:pt idx="51">
                  <c:v>19.09.21</c:v>
                </c:pt>
                <c:pt idx="52">
                  <c:v>20.09.21</c:v>
                </c:pt>
                <c:pt idx="53">
                  <c:v>21.09.21</c:v>
                </c:pt>
                <c:pt idx="54">
                  <c:v>22.09.21</c:v>
                </c:pt>
                <c:pt idx="55">
                  <c:v>23.09.21</c:v>
                </c:pt>
                <c:pt idx="56">
                  <c:v>24.09.21</c:v>
                </c:pt>
                <c:pt idx="57">
                  <c:v>25.09.21</c:v>
                </c:pt>
                <c:pt idx="58">
                  <c:v>26.09.21</c:v>
                </c:pt>
                <c:pt idx="59">
                  <c:v>27.09.21</c:v>
                </c:pt>
                <c:pt idx="60">
                  <c:v>28.09.21</c:v>
                </c:pt>
                <c:pt idx="61">
                  <c:v>29.09.21</c:v>
                </c:pt>
                <c:pt idx="62">
                  <c:v>30.09.21</c:v>
                </c:pt>
                <c:pt idx="63">
                  <c:v>01.10.21</c:v>
                </c:pt>
                <c:pt idx="64">
                  <c:v>02.10.21</c:v>
                </c:pt>
                <c:pt idx="65">
                  <c:v>03.10.21</c:v>
                </c:pt>
                <c:pt idx="66">
                  <c:v>04.10.21</c:v>
                </c:pt>
                <c:pt idx="67">
                  <c:v>05.10.21</c:v>
                </c:pt>
                <c:pt idx="68">
                  <c:v>06.10.21</c:v>
                </c:pt>
                <c:pt idx="69">
                  <c:v>07.10.21</c:v>
                </c:pt>
                <c:pt idx="70">
                  <c:v>08.10.21</c:v>
                </c:pt>
                <c:pt idx="71">
                  <c:v>09.10.21</c:v>
                </c:pt>
                <c:pt idx="72">
                  <c:v>10.10.21</c:v>
                </c:pt>
                <c:pt idx="73">
                  <c:v>11.10.21</c:v>
                </c:pt>
                <c:pt idx="74">
                  <c:v>12.10.21</c:v>
                </c:pt>
                <c:pt idx="75">
                  <c:v>13.10.21</c:v>
                </c:pt>
                <c:pt idx="76">
                  <c:v>14.10.21</c:v>
                </c:pt>
                <c:pt idx="77">
                  <c:v>15.10.21</c:v>
                </c:pt>
                <c:pt idx="78">
                  <c:v>16.10.21</c:v>
                </c:pt>
                <c:pt idx="79">
                  <c:v>17.10.21</c:v>
                </c:pt>
                <c:pt idx="80">
                  <c:v>18.10.21</c:v>
                </c:pt>
                <c:pt idx="81">
                  <c:v>19.10.21</c:v>
                </c:pt>
                <c:pt idx="82">
                  <c:v>20.10.21</c:v>
                </c:pt>
                <c:pt idx="83">
                  <c:v>21.10.21</c:v>
                </c:pt>
                <c:pt idx="84">
                  <c:v>22.10.21</c:v>
                </c:pt>
                <c:pt idx="85">
                  <c:v>23.10.21</c:v>
                </c:pt>
                <c:pt idx="86">
                  <c:v>24.10.21</c:v>
                </c:pt>
                <c:pt idx="87">
                  <c:v>25.10.21</c:v>
                </c:pt>
                <c:pt idx="88">
                  <c:v>26.10.21</c:v>
                </c:pt>
                <c:pt idx="89">
                  <c:v>27.10.21</c:v>
                </c:pt>
                <c:pt idx="90">
                  <c:v>28.10.21</c:v>
                </c:pt>
                <c:pt idx="91">
                  <c:v>29.10.21</c:v>
                </c:pt>
                <c:pt idx="92">
                  <c:v>30.10.21</c:v>
                </c:pt>
                <c:pt idx="93">
                  <c:v>31.10.21</c:v>
                </c:pt>
                <c:pt idx="94">
                  <c:v>01.11.21</c:v>
                </c:pt>
                <c:pt idx="95">
                  <c:v>02.11.21</c:v>
                </c:pt>
                <c:pt idx="96">
                  <c:v>03.11.21</c:v>
                </c:pt>
                <c:pt idx="97">
                  <c:v>04.11.21</c:v>
                </c:pt>
                <c:pt idx="98">
                  <c:v>05.11.21</c:v>
                </c:pt>
                <c:pt idx="99">
                  <c:v>06.11.21</c:v>
                </c:pt>
                <c:pt idx="100">
                  <c:v>07.11.21</c:v>
                </c:pt>
                <c:pt idx="101">
                  <c:v>08.11.21</c:v>
                </c:pt>
                <c:pt idx="102">
                  <c:v>09.11.21</c:v>
                </c:pt>
                <c:pt idx="103">
                  <c:v>10.11.21</c:v>
                </c:pt>
                <c:pt idx="104">
                  <c:v>11.11.21</c:v>
                </c:pt>
                <c:pt idx="105">
                  <c:v>12.11.21</c:v>
                </c:pt>
                <c:pt idx="106">
                  <c:v>13.11.21</c:v>
                </c:pt>
                <c:pt idx="107">
                  <c:v>14.11.21</c:v>
                </c:pt>
                <c:pt idx="108">
                  <c:v>15.11.21</c:v>
                </c:pt>
                <c:pt idx="109">
                  <c:v>16.11.21</c:v>
                </c:pt>
                <c:pt idx="110">
                  <c:v>17.11.21</c:v>
                </c:pt>
                <c:pt idx="111">
                  <c:v>18.11.21</c:v>
                </c:pt>
                <c:pt idx="112">
                  <c:v>19.11.21</c:v>
                </c:pt>
                <c:pt idx="113">
                  <c:v>20.11.21</c:v>
                </c:pt>
                <c:pt idx="114">
                  <c:v>21.11.21</c:v>
                </c:pt>
                <c:pt idx="115">
                  <c:v>22.11.21</c:v>
                </c:pt>
                <c:pt idx="116">
                  <c:v>23.11.21</c:v>
                </c:pt>
                <c:pt idx="117">
                  <c:v>24.11.21</c:v>
                </c:pt>
                <c:pt idx="118">
                  <c:v>25.11.21</c:v>
                </c:pt>
                <c:pt idx="119">
                  <c:v>26.11.21</c:v>
                </c:pt>
                <c:pt idx="120">
                  <c:v>27.11.21</c:v>
                </c:pt>
                <c:pt idx="121">
                  <c:v>28.11.21</c:v>
                </c:pt>
                <c:pt idx="122">
                  <c:v>29.11.21</c:v>
                </c:pt>
                <c:pt idx="123">
                  <c:v>30.11.21</c:v>
                </c:pt>
                <c:pt idx="124">
                  <c:v>01.12.21</c:v>
                </c:pt>
                <c:pt idx="125">
                  <c:v>02.12.21</c:v>
                </c:pt>
                <c:pt idx="126">
                  <c:v>03.12.21</c:v>
                </c:pt>
                <c:pt idx="127">
                  <c:v>04.12.21</c:v>
                </c:pt>
                <c:pt idx="128">
                  <c:v>05.12.21</c:v>
                </c:pt>
                <c:pt idx="129">
                  <c:v>06.12.21</c:v>
                </c:pt>
                <c:pt idx="130">
                  <c:v>07.12.21</c:v>
                </c:pt>
                <c:pt idx="131">
                  <c:v>08.12.21</c:v>
                </c:pt>
                <c:pt idx="132">
                  <c:v>09.12.21</c:v>
                </c:pt>
                <c:pt idx="133">
                  <c:v>10.12.21</c:v>
                </c:pt>
                <c:pt idx="134">
                  <c:v>11.12.21</c:v>
                </c:pt>
                <c:pt idx="135">
                  <c:v>12.12.21</c:v>
                </c:pt>
                <c:pt idx="136">
                  <c:v>13.12.21</c:v>
                </c:pt>
                <c:pt idx="137">
                  <c:v>14.12.21</c:v>
                </c:pt>
                <c:pt idx="138">
                  <c:v>15.12.21</c:v>
                </c:pt>
                <c:pt idx="139">
                  <c:v>16.12.21</c:v>
                </c:pt>
                <c:pt idx="140">
                  <c:v>17.12.21</c:v>
                </c:pt>
                <c:pt idx="141">
                  <c:v>18.12.21</c:v>
                </c:pt>
                <c:pt idx="142">
                  <c:v>19.12.21</c:v>
                </c:pt>
                <c:pt idx="143">
                  <c:v>20.12.21</c:v>
                </c:pt>
                <c:pt idx="144">
                  <c:v>21.12.21</c:v>
                </c:pt>
                <c:pt idx="145">
                  <c:v>22.12.21</c:v>
                </c:pt>
                <c:pt idx="146">
                  <c:v>23.12.21</c:v>
                </c:pt>
                <c:pt idx="147">
                  <c:v>24.12.21</c:v>
                </c:pt>
                <c:pt idx="148">
                  <c:v>25.12.21</c:v>
                </c:pt>
                <c:pt idx="149">
                  <c:v>26.12.21</c:v>
                </c:pt>
                <c:pt idx="150">
                  <c:v>27.12.21</c:v>
                </c:pt>
                <c:pt idx="151">
                  <c:v>28.12.21</c:v>
                </c:pt>
                <c:pt idx="152">
                  <c:v>29.12.21</c:v>
                </c:pt>
                <c:pt idx="153">
                  <c:v>30.12.21</c:v>
                </c:pt>
                <c:pt idx="154">
                  <c:v>31.12.21</c:v>
                </c:pt>
                <c:pt idx="155">
                  <c:v>01.01.22</c:v>
                </c:pt>
                <c:pt idx="156">
                  <c:v>02.01.22</c:v>
                </c:pt>
                <c:pt idx="157">
                  <c:v>03.01.22</c:v>
                </c:pt>
                <c:pt idx="158">
                  <c:v>04.01.22</c:v>
                </c:pt>
                <c:pt idx="159">
                  <c:v>05.01.22</c:v>
                </c:pt>
                <c:pt idx="160">
                  <c:v>06.01.22</c:v>
                </c:pt>
                <c:pt idx="161">
                  <c:v>07.01.22</c:v>
                </c:pt>
                <c:pt idx="162">
                  <c:v>08.01.22</c:v>
                </c:pt>
                <c:pt idx="163">
                  <c:v>09.01.22</c:v>
                </c:pt>
                <c:pt idx="164">
                  <c:v>10.01.22</c:v>
                </c:pt>
                <c:pt idx="165">
                  <c:v>11.01.22</c:v>
                </c:pt>
                <c:pt idx="166">
                  <c:v>12.01.22</c:v>
                </c:pt>
                <c:pt idx="167">
                  <c:v>13.01.22</c:v>
                </c:pt>
                <c:pt idx="168">
                  <c:v>14.01.22</c:v>
                </c:pt>
                <c:pt idx="169">
                  <c:v>15.01.22</c:v>
                </c:pt>
                <c:pt idx="170">
                  <c:v>16.01.22</c:v>
                </c:pt>
                <c:pt idx="171">
                  <c:v>17.01.22</c:v>
                </c:pt>
                <c:pt idx="172">
                  <c:v>18.01.22</c:v>
                </c:pt>
                <c:pt idx="173">
                  <c:v>19.01.22</c:v>
                </c:pt>
                <c:pt idx="174">
                  <c:v>20.01.22</c:v>
                </c:pt>
                <c:pt idx="175">
                  <c:v>21.01.22</c:v>
                </c:pt>
                <c:pt idx="176">
                  <c:v>22.01.22</c:v>
                </c:pt>
                <c:pt idx="177">
                  <c:v>23.01.22</c:v>
                </c:pt>
                <c:pt idx="178">
                  <c:v>24.01.22</c:v>
                </c:pt>
                <c:pt idx="179">
                  <c:v>25.01.22</c:v>
                </c:pt>
                <c:pt idx="180">
                  <c:v>26.01.22</c:v>
                </c:pt>
                <c:pt idx="181">
                  <c:v>27.01.22</c:v>
                </c:pt>
                <c:pt idx="182">
                  <c:v>28.01.22</c:v>
                </c:pt>
              </c:strCache>
            </c:strRef>
          </c:cat>
          <c:val>
            <c:numRef>
              <c:f>List1!$B$3:$GB$3</c:f>
              <c:numCache>
                <c:formatCode>General</c:formatCode>
                <c:ptCount val="183"/>
                <c:pt idx="0">
                  <c:v>69</c:v>
                </c:pt>
                <c:pt idx="1">
                  <c:v>69</c:v>
                </c:pt>
                <c:pt idx="2">
                  <c:v>69</c:v>
                </c:pt>
                <c:pt idx="3">
                  <c:v>65</c:v>
                </c:pt>
                <c:pt idx="4">
                  <c:v>67</c:v>
                </c:pt>
                <c:pt idx="5">
                  <c:v>65</c:v>
                </c:pt>
                <c:pt idx="6">
                  <c:v>64</c:v>
                </c:pt>
                <c:pt idx="7">
                  <c:v>61</c:v>
                </c:pt>
                <c:pt idx="8">
                  <c:v>60</c:v>
                </c:pt>
                <c:pt idx="9">
                  <c:v>57</c:v>
                </c:pt>
                <c:pt idx="10">
                  <c:v>59</c:v>
                </c:pt>
                <c:pt idx="11">
                  <c:v>61</c:v>
                </c:pt>
                <c:pt idx="12">
                  <c:v>63</c:v>
                </c:pt>
                <c:pt idx="13">
                  <c:v>63</c:v>
                </c:pt>
                <c:pt idx="14">
                  <c:v>65</c:v>
                </c:pt>
                <c:pt idx="15">
                  <c:v>66</c:v>
                </c:pt>
                <c:pt idx="16">
                  <c:v>67</c:v>
                </c:pt>
                <c:pt idx="17">
                  <c:v>69</c:v>
                </c:pt>
                <c:pt idx="18">
                  <c:v>71</c:v>
                </c:pt>
                <c:pt idx="19">
                  <c:v>72</c:v>
                </c:pt>
                <c:pt idx="20">
                  <c:v>72</c:v>
                </c:pt>
                <c:pt idx="21">
                  <c:v>72</c:v>
                </c:pt>
                <c:pt idx="22">
                  <c:v>72</c:v>
                </c:pt>
                <c:pt idx="23">
                  <c:v>72</c:v>
                </c:pt>
                <c:pt idx="24">
                  <c:v>74</c:v>
                </c:pt>
                <c:pt idx="25">
                  <c:v>75</c:v>
                </c:pt>
                <c:pt idx="26">
                  <c:v>72</c:v>
                </c:pt>
                <c:pt idx="27">
                  <c:v>73</c:v>
                </c:pt>
                <c:pt idx="28">
                  <c:v>72</c:v>
                </c:pt>
                <c:pt idx="29">
                  <c:v>72</c:v>
                </c:pt>
                <c:pt idx="30">
                  <c:v>71</c:v>
                </c:pt>
                <c:pt idx="31">
                  <c:v>66</c:v>
                </c:pt>
                <c:pt idx="32">
                  <c:v>67</c:v>
                </c:pt>
                <c:pt idx="33">
                  <c:v>65</c:v>
                </c:pt>
                <c:pt idx="34">
                  <c:v>70</c:v>
                </c:pt>
                <c:pt idx="35">
                  <c:v>76</c:v>
                </c:pt>
                <c:pt idx="36">
                  <c:v>77</c:v>
                </c:pt>
                <c:pt idx="37">
                  <c:v>75</c:v>
                </c:pt>
                <c:pt idx="38">
                  <c:v>73</c:v>
                </c:pt>
                <c:pt idx="39">
                  <c:v>79</c:v>
                </c:pt>
                <c:pt idx="40">
                  <c:v>79</c:v>
                </c:pt>
                <c:pt idx="41">
                  <c:v>81</c:v>
                </c:pt>
                <c:pt idx="42">
                  <c:v>81</c:v>
                </c:pt>
                <c:pt idx="43">
                  <c:v>80</c:v>
                </c:pt>
                <c:pt idx="44">
                  <c:v>81</c:v>
                </c:pt>
                <c:pt idx="45">
                  <c:v>82</c:v>
                </c:pt>
                <c:pt idx="46">
                  <c:v>85</c:v>
                </c:pt>
                <c:pt idx="47">
                  <c:v>87</c:v>
                </c:pt>
                <c:pt idx="48">
                  <c:v>89</c:v>
                </c:pt>
                <c:pt idx="49">
                  <c:v>88</c:v>
                </c:pt>
                <c:pt idx="50">
                  <c:v>90</c:v>
                </c:pt>
                <c:pt idx="51">
                  <c:v>91</c:v>
                </c:pt>
                <c:pt idx="52">
                  <c:v>97</c:v>
                </c:pt>
                <c:pt idx="53">
                  <c:v>99</c:v>
                </c:pt>
                <c:pt idx="54">
                  <c:v>104</c:v>
                </c:pt>
                <c:pt idx="55">
                  <c:v>107</c:v>
                </c:pt>
                <c:pt idx="56">
                  <c:v>114</c:v>
                </c:pt>
                <c:pt idx="57">
                  <c:v>120</c:v>
                </c:pt>
                <c:pt idx="58">
                  <c:v>122</c:v>
                </c:pt>
                <c:pt idx="59">
                  <c:v>123</c:v>
                </c:pt>
                <c:pt idx="60">
                  <c:v>128</c:v>
                </c:pt>
                <c:pt idx="61">
                  <c:v>134</c:v>
                </c:pt>
                <c:pt idx="62">
                  <c:v>142</c:v>
                </c:pt>
                <c:pt idx="63">
                  <c:v>144</c:v>
                </c:pt>
                <c:pt idx="64">
                  <c:v>145</c:v>
                </c:pt>
                <c:pt idx="65">
                  <c:v>151</c:v>
                </c:pt>
                <c:pt idx="66">
                  <c:v>150</c:v>
                </c:pt>
                <c:pt idx="67">
                  <c:v>158</c:v>
                </c:pt>
                <c:pt idx="68">
                  <c:v>162</c:v>
                </c:pt>
                <c:pt idx="69">
                  <c:v>164</c:v>
                </c:pt>
                <c:pt idx="70">
                  <c:v>165</c:v>
                </c:pt>
                <c:pt idx="71">
                  <c:v>165</c:v>
                </c:pt>
                <c:pt idx="72">
                  <c:v>163</c:v>
                </c:pt>
                <c:pt idx="73">
                  <c:v>174</c:v>
                </c:pt>
                <c:pt idx="74">
                  <c:v>186</c:v>
                </c:pt>
                <c:pt idx="75">
                  <c:v>187</c:v>
                </c:pt>
                <c:pt idx="76">
                  <c:v>197</c:v>
                </c:pt>
                <c:pt idx="77">
                  <c:v>207</c:v>
                </c:pt>
                <c:pt idx="78">
                  <c:v>212</c:v>
                </c:pt>
                <c:pt idx="79">
                  <c:v>215</c:v>
                </c:pt>
                <c:pt idx="80">
                  <c:v>237</c:v>
                </c:pt>
                <c:pt idx="81">
                  <c:v>248</c:v>
                </c:pt>
                <c:pt idx="82">
                  <c:v>264</c:v>
                </c:pt>
                <c:pt idx="83">
                  <c:v>303</c:v>
                </c:pt>
                <c:pt idx="84">
                  <c:v>330</c:v>
                </c:pt>
                <c:pt idx="85">
                  <c:v>359</c:v>
                </c:pt>
                <c:pt idx="86">
                  <c:v>362</c:v>
                </c:pt>
                <c:pt idx="87">
                  <c:v>405</c:v>
                </c:pt>
                <c:pt idx="88">
                  <c:v>451</c:v>
                </c:pt>
                <c:pt idx="89">
                  <c:v>502</c:v>
                </c:pt>
                <c:pt idx="90">
                  <c:v>517</c:v>
                </c:pt>
                <c:pt idx="91">
                  <c:v>576</c:v>
                </c:pt>
                <c:pt idx="92">
                  <c:v>623</c:v>
                </c:pt>
                <c:pt idx="93">
                  <c:v>650</c:v>
                </c:pt>
                <c:pt idx="94">
                  <c:v>712</c:v>
                </c:pt>
                <c:pt idx="95">
                  <c:v>793</c:v>
                </c:pt>
                <c:pt idx="96">
                  <c:v>866</c:v>
                </c:pt>
                <c:pt idx="97">
                  <c:v>910</c:v>
                </c:pt>
                <c:pt idx="98">
                  <c:v>984</c:v>
                </c:pt>
                <c:pt idx="99">
                  <c:v>1040</c:v>
                </c:pt>
                <c:pt idx="100">
                  <c:v>1042</c:v>
                </c:pt>
                <c:pt idx="101">
                  <c:v>1082</c:v>
                </c:pt>
                <c:pt idx="102">
                  <c:v>1161</c:v>
                </c:pt>
                <c:pt idx="103">
                  <c:v>1261</c:v>
                </c:pt>
                <c:pt idx="104">
                  <c:v>1316</c:v>
                </c:pt>
                <c:pt idx="105">
                  <c:v>1383</c:v>
                </c:pt>
                <c:pt idx="106">
                  <c:v>1420</c:v>
                </c:pt>
                <c:pt idx="107">
                  <c:v>1429</c:v>
                </c:pt>
                <c:pt idx="108">
                  <c:v>1462</c:v>
                </c:pt>
                <c:pt idx="109">
                  <c:v>1574</c:v>
                </c:pt>
                <c:pt idx="110">
                  <c:v>1576</c:v>
                </c:pt>
                <c:pt idx="111">
                  <c:v>1629</c:v>
                </c:pt>
                <c:pt idx="112">
                  <c:v>1730</c:v>
                </c:pt>
                <c:pt idx="113">
                  <c:v>1826</c:v>
                </c:pt>
                <c:pt idx="114">
                  <c:v>1871</c:v>
                </c:pt>
                <c:pt idx="115">
                  <c:v>1885</c:v>
                </c:pt>
                <c:pt idx="116">
                  <c:v>1993</c:v>
                </c:pt>
                <c:pt idx="117">
                  <c:v>1980</c:v>
                </c:pt>
                <c:pt idx="118">
                  <c:v>2064</c:v>
                </c:pt>
                <c:pt idx="119">
                  <c:v>2100</c:v>
                </c:pt>
                <c:pt idx="120">
                  <c:v>2138</c:v>
                </c:pt>
                <c:pt idx="121">
                  <c:v>2162</c:v>
                </c:pt>
                <c:pt idx="122">
                  <c:v>2116</c:v>
                </c:pt>
                <c:pt idx="123">
                  <c:v>2090</c:v>
                </c:pt>
                <c:pt idx="124">
                  <c:v>2172</c:v>
                </c:pt>
                <c:pt idx="125">
                  <c:v>2094</c:v>
                </c:pt>
                <c:pt idx="126">
                  <c:v>1993</c:v>
                </c:pt>
                <c:pt idx="127">
                  <c:v>1998</c:v>
                </c:pt>
                <c:pt idx="128">
                  <c:v>1980</c:v>
                </c:pt>
                <c:pt idx="129">
                  <c:v>1841</c:v>
                </c:pt>
                <c:pt idx="130">
                  <c:v>1788</c:v>
                </c:pt>
                <c:pt idx="131">
                  <c:v>1733</c:v>
                </c:pt>
                <c:pt idx="132">
                  <c:v>1703</c:v>
                </c:pt>
                <c:pt idx="133">
                  <c:v>1637</c:v>
                </c:pt>
                <c:pt idx="134">
                  <c:v>1637</c:v>
                </c:pt>
                <c:pt idx="135">
                  <c:v>1624</c:v>
                </c:pt>
                <c:pt idx="136">
                  <c:v>1483</c:v>
                </c:pt>
                <c:pt idx="137">
                  <c:v>1456</c:v>
                </c:pt>
                <c:pt idx="138">
                  <c:v>1396</c:v>
                </c:pt>
                <c:pt idx="139">
                  <c:v>1332</c:v>
                </c:pt>
                <c:pt idx="140">
                  <c:v>1273</c:v>
                </c:pt>
                <c:pt idx="141">
                  <c:v>1258</c:v>
                </c:pt>
                <c:pt idx="142">
                  <c:v>1227</c:v>
                </c:pt>
                <c:pt idx="143">
                  <c:v>1120</c:v>
                </c:pt>
                <c:pt idx="144">
                  <c:v>1068</c:v>
                </c:pt>
                <c:pt idx="145">
                  <c:v>1017</c:v>
                </c:pt>
                <c:pt idx="146">
                  <c:v>976</c:v>
                </c:pt>
                <c:pt idx="147">
                  <c:v>884</c:v>
                </c:pt>
                <c:pt idx="148">
                  <c:v>850</c:v>
                </c:pt>
                <c:pt idx="149">
                  <c:v>810</c:v>
                </c:pt>
                <c:pt idx="150">
                  <c:v>749</c:v>
                </c:pt>
                <c:pt idx="151">
                  <c:v>749</c:v>
                </c:pt>
                <c:pt idx="152">
                  <c:v>732</c:v>
                </c:pt>
                <c:pt idx="153">
                  <c:v>707</c:v>
                </c:pt>
                <c:pt idx="154">
                  <c:v>684</c:v>
                </c:pt>
                <c:pt idx="155">
                  <c:v>663</c:v>
                </c:pt>
                <c:pt idx="156">
                  <c:v>659</c:v>
                </c:pt>
                <c:pt idx="157">
                  <c:v>637</c:v>
                </c:pt>
                <c:pt idx="158">
                  <c:v>650</c:v>
                </c:pt>
                <c:pt idx="159">
                  <c:v>638</c:v>
                </c:pt>
                <c:pt idx="160">
                  <c:v>645</c:v>
                </c:pt>
                <c:pt idx="161">
                  <c:v>689</c:v>
                </c:pt>
                <c:pt idx="162">
                  <c:v>704</c:v>
                </c:pt>
                <c:pt idx="163">
                  <c:v>699</c:v>
                </c:pt>
                <c:pt idx="164">
                  <c:v>659</c:v>
                </c:pt>
                <c:pt idx="165">
                  <c:v>684</c:v>
                </c:pt>
                <c:pt idx="166">
                  <c:v>716</c:v>
                </c:pt>
                <c:pt idx="167">
                  <c:v>750</c:v>
                </c:pt>
                <c:pt idx="168">
                  <c:v>796</c:v>
                </c:pt>
                <c:pt idx="169">
                  <c:v>855</c:v>
                </c:pt>
                <c:pt idx="170">
                  <c:v>854</c:v>
                </c:pt>
                <c:pt idx="171">
                  <c:v>944</c:v>
                </c:pt>
                <c:pt idx="172">
                  <c:v>1091</c:v>
                </c:pt>
                <c:pt idx="173">
                  <c:v>1238</c:v>
                </c:pt>
                <c:pt idx="174">
                  <c:v>1380</c:v>
                </c:pt>
                <c:pt idx="175">
                  <c:v>1497</c:v>
                </c:pt>
                <c:pt idx="176">
                  <c:v>1523</c:v>
                </c:pt>
                <c:pt idx="177">
                  <c:v>1545</c:v>
                </c:pt>
                <c:pt idx="178">
                  <c:v>1704</c:v>
                </c:pt>
                <c:pt idx="179">
                  <c:v>1979</c:v>
                </c:pt>
                <c:pt idx="180">
                  <c:v>2317</c:v>
                </c:pt>
                <c:pt idx="181">
                  <c:v>2444</c:v>
                </c:pt>
                <c:pt idx="182">
                  <c:v>26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7CD-4BA3-857E-B86804E5EE02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9.1782611028705868E-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B$1</c:f>
              <c:strCache>
                <c:ptCount val="183"/>
                <c:pt idx="0">
                  <c:v>30.07.21</c:v>
                </c:pt>
                <c:pt idx="1">
                  <c:v>31.07.21</c:v>
                </c:pt>
                <c:pt idx="2">
                  <c:v>01.08.21</c:v>
                </c:pt>
                <c:pt idx="3">
                  <c:v>02.08.21</c:v>
                </c:pt>
                <c:pt idx="4">
                  <c:v>03.08.21</c:v>
                </c:pt>
                <c:pt idx="5">
                  <c:v>04.08.21</c:v>
                </c:pt>
                <c:pt idx="6">
                  <c:v>05.08.21</c:v>
                </c:pt>
                <c:pt idx="7">
                  <c:v>06.08.21</c:v>
                </c:pt>
                <c:pt idx="8">
                  <c:v>07.08.21</c:v>
                </c:pt>
                <c:pt idx="9">
                  <c:v>08.08.21</c:v>
                </c:pt>
                <c:pt idx="10">
                  <c:v>09.08.21</c:v>
                </c:pt>
                <c:pt idx="11">
                  <c:v>10.08.21</c:v>
                </c:pt>
                <c:pt idx="12">
                  <c:v>11.08.21</c:v>
                </c:pt>
                <c:pt idx="13">
                  <c:v>12.08.21</c:v>
                </c:pt>
                <c:pt idx="14">
                  <c:v>13.08.21</c:v>
                </c:pt>
                <c:pt idx="15">
                  <c:v>14.08.21</c:v>
                </c:pt>
                <c:pt idx="16">
                  <c:v>15.08.21</c:v>
                </c:pt>
                <c:pt idx="17">
                  <c:v>16.08.21</c:v>
                </c:pt>
                <c:pt idx="18">
                  <c:v>17.08.21</c:v>
                </c:pt>
                <c:pt idx="19">
                  <c:v>18.08.21</c:v>
                </c:pt>
                <c:pt idx="20">
                  <c:v>19.08.21</c:v>
                </c:pt>
                <c:pt idx="21">
                  <c:v>20.08.21</c:v>
                </c:pt>
                <c:pt idx="22">
                  <c:v>21.08.21</c:v>
                </c:pt>
                <c:pt idx="23">
                  <c:v>22.08.21</c:v>
                </c:pt>
                <c:pt idx="24">
                  <c:v>23.08.21</c:v>
                </c:pt>
                <c:pt idx="25">
                  <c:v>24.08.21</c:v>
                </c:pt>
                <c:pt idx="26">
                  <c:v>25.08.21</c:v>
                </c:pt>
                <c:pt idx="27">
                  <c:v>26.08.21</c:v>
                </c:pt>
                <c:pt idx="28">
                  <c:v>27.08.21</c:v>
                </c:pt>
                <c:pt idx="29">
                  <c:v>28.08.21</c:v>
                </c:pt>
                <c:pt idx="30">
                  <c:v>29.08.21</c:v>
                </c:pt>
                <c:pt idx="31">
                  <c:v>30.08.21</c:v>
                </c:pt>
                <c:pt idx="32">
                  <c:v>31.08.21</c:v>
                </c:pt>
                <c:pt idx="33">
                  <c:v>01.09.21</c:v>
                </c:pt>
                <c:pt idx="34">
                  <c:v>02.09.21</c:v>
                </c:pt>
                <c:pt idx="35">
                  <c:v>03.09.21</c:v>
                </c:pt>
                <c:pt idx="36">
                  <c:v>04.09.21</c:v>
                </c:pt>
                <c:pt idx="37">
                  <c:v>05.09.21</c:v>
                </c:pt>
                <c:pt idx="38">
                  <c:v>06.09.21</c:v>
                </c:pt>
                <c:pt idx="39">
                  <c:v>07.09.21</c:v>
                </c:pt>
                <c:pt idx="40">
                  <c:v>08.09.21</c:v>
                </c:pt>
                <c:pt idx="41">
                  <c:v>09.09.21</c:v>
                </c:pt>
                <c:pt idx="42">
                  <c:v>10.09.21</c:v>
                </c:pt>
                <c:pt idx="43">
                  <c:v>11.09.21</c:v>
                </c:pt>
                <c:pt idx="44">
                  <c:v>12.09.21</c:v>
                </c:pt>
                <c:pt idx="45">
                  <c:v>13.09.21</c:v>
                </c:pt>
                <c:pt idx="46">
                  <c:v>14.09.21</c:v>
                </c:pt>
                <c:pt idx="47">
                  <c:v>15.09.21</c:v>
                </c:pt>
                <c:pt idx="48">
                  <c:v>16.09.21</c:v>
                </c:pt>
                <c:pt idx="49">
                  <c:v>17.09.21</c:v>
                </c:pt>
                <c:pt idx="50">
                  <c:v>18.09.21</c:v>
                </c:pt>
                <c:pt idx="51">
                  <c:v>19.09.21</c:v>
                </c:pt>
                <c:pt idx="52">
                  <c:v>20.09.21</c:v>
                </c:pt>
                <c:pt idx="53">
                  <c:v>21.09.21</c:v>
                </c:pt>
                <c:pt idx="54">
                  <c:v>22.09.21</c:v>
                </c:pt>
                <c:pt idx="55">
                  <c:v>23.09.21</c:v>
                </c:pt>
                <c:pt idx="56">
                  <c:v>24.09.21</c:v>
                </c:pt>
                <c:pt idx="57">
                  <c:v>25.09.21</c:v>
                </c:pt>
                <c:pt idx="58">
                  <c:v>26.09.21</c:v>
                </c:pt>
                <c:pt idx="59">
                  <c:v>27.09.21</c:v>
                </c:pt>
                <c:pt idx="60">
                  <c:v>28.09.21</c:v>
                </c:pt>
                <c:pt idx="61">
                  <c:v>29.09.21</c:v>
                </c:pt>
                <c:pt idx="62">
                  <c:v>30.09.21</c:v>
                </c:pt>
                <c:pt idx="63">
                  <c:v>01.10.21</c:v>
                </c:pt>
                <c:pt idx="64">
                  <c:v>02.10.21</c:v>
                </c:pt>
                <c:pt idx="65">
                  <c:v>03.10.21</c:v>
                </c:pt>
                <c:pt idx="66">
                  <c:v>04.10.21</c:v>
                </c:pt>
                <c:pt idx="67">
                  <c:v>05.10.21</c:v>
                </c:pt>
                <c:pt idx="68">
                  <c:v>06.10.21</c:v>
                </c:pt>
                <c:pt idx="69">
                  <c:v>07.10.21</c:v>
                </c:pt>
                <c:pt idx="70">
                  <c:v>08.10.21</c:v>
                </c:pt>
                <c:pt idx="71">
                  <c:v>09.10.21</c:v>
                </c:pt>
                <c:pt idx="72">
                  <c:v>10.10.21</c:v>
                </c:pt>
                <c:pt idx="73">
                  <c:v>11.10.21</c:v>
                </c:pt>
                <c:pt idx="74">
                  <c:v>12.10.21</c:v>
                </c:pt>
                <c:pt idx="75">
                  <c:v>13.10.21</c:v>
                </c:pt>
                <c:pt idx="76">
                  <c:v>14.10.21</c:v>
                </c:pt>
                <c:pt idx="77">
                  <c:v>15.10.21</c:v>
                </c:pt>
                <c:pt idx="78">
                  <c:v>16.10.21</c:v>
                </c:pt>
                <c:pt idx="79">
                  <c:v>17.10.21</c:v>
                </c:pt>
                <c:pt idx="80">
                  <c:v>18.10.21</c:v>
                </c:pt>
                <c:pt idx="81">
                  <c:v>19.10.21</c:v>
                </c:pt>
                <c:pt idx="82">
                  <c:v>20.10.21</c:v>
                </c:pt>
                <c:pt idx="83">
                  <c:v>21.10.21</c:v>
                </c:pt>
                <c:pt idx="84">
                  <c:v>22.10.21</c:v>
                </c:pt>
                <c:pt idx="85">
                  <c:v>23.10.21</c:v>
                </c:pt>
                <c:pt idx="86">
                  <c:v>24.10.21</c:v>
                </c:pt>
                <c:pt idx="87">
                  <c:v>25.10.21</c:v>
                </c:pt>
                <c:pt idx="88">
                  <c:v>26.10.21</c:v>
                </c:pt>
                <c:pt idx="89">
                  <c:v>27.10.21</c:v>
                </c:pt>
                <c:pt idx="90">
                  <c:v>28.10.21</c:v>
                </c:pt>
                <c:pt idx="91">
                  <c:v>29.10.21</c:v>
                </c:pt>
                <c:pt idx="92">
                  <c:v>30.10.21</c:v>
                </c:pt>
                <c:pt idx="93">
                  <c:v>31.10.21</c:v>
                </c:pt>
                <c:pt idx="94">
                  <c:v>01.11.21</c:v>
                </c:pt>
                <c:pt idx="95">
                  <c:v>02.11.21</c:v>
                </c:pt>
                <c:pt idx="96">
                  <c:v>03.11.21</c:v>
                </c:pt>
                <c:pt idx="97">
                  <c:v>04.11.21</c:v>
                </c:pt>
                <c:pt idx="98">
                  <c:v>05.11.21</c:v>
                </c:pt>
                <c:pt idx="99">
                  <c:v>06.11.21</c:v>
                </c:pt>
                <c:pt idx="100">
                  <c:v>07.11.21</c:v>
                </c:pt>
                <c:pt idx="101">
                  <c:v>08.11.21</c:v>
                </c:pt>
                <c:pt idx="102">
                  <c:v>09.11.21</c:v>
                </c:pt>
                <c:pt idx="103">
                  <c:v>10.11.21</c:v>
                </c:pt>
                <c:pt idx="104">
                  <c:v>11.11.21</c:v>
                </c:pt>
                <c:pt idx="105">
                  <c:v>12.11.21</c:v>
                </c:pt>
                <c:pt idx="106">
                  <c:v>13.11.21</c:v>
                </c:pt>
                <c:pt idx="107">
                  <c:v>14.11.21</c:v>
                </c:pt>
                <c:pt idx="108">
                  <c:v>15.11.21</c:v>
                </c:pt>
                <c:pt idx="109">
                  <c:v>16.11.21</c:v>
                </c:pt>
                <c:pt idx="110">
                  <c:v>17.11.21</c:v>
                </c:pt>
                <c:pt idx="111">
                  <c:v>18.11.21</c:v>
                </c:pt>
                <c:pt idx="112">
                  <c:v>19.11.21</c:v>
                </c:pt>
                <c:pt idx="113">
                  <c:v>20.11.21</c:v>
                </c:pt>
                <c:pt idx="114">
                  <c:v>21.11.21</c:v>
                </c:pt>
                <c:pt idx="115">
                  <c:v>22.11.21</c:v>
                </c:pt>
                <c:pt idx="116">
                  <c:v>23.11.21</c:v>
                </c:pt>
                <c:pt idx="117">
                  <c:v>24.11.21</c:v>
                </c:pt>
                <c:pt idx="118">
                  <c:v>25.11.21</c:v>
                </c:pt>
                <c:pt idx="119">
                  <c:v>26.11.21</c:v>
                </c:pt>
                <c:pt idx="120">
                  <c:v>27.11.21</c:v>
                </c:pt>
                <c:pt idx="121">
                  <c:v>28.11.21</c:v>
                </c:pt>
                <c:pt idx="122">
                  <c:v>29.11.21</c:v>
                </c:pt>
                <c:pt idx="123">
                  <c:v>30.11.21</c:v>
                </c:pt>
                <c:pt idx="124">
                  <c:v>01.12.21</c:v>
                </c:pt>
                <c:pt idx="125">
                  <c:v>02.12.21</c:v>
                </c:pt>
                <c:pt idx="126">
                  <c:v>03.12.21</c:v>
                </c:pt>
                <c:pt idx="127">
                  <c:v>04.12.21</c:v>
                </c:pt>
                <c:pt idx="128">
                  <c:v>05.12.21</c:v>
                </c:pt>
                <c:pt idx="129">
                  <c:v>06.12.21</c:v>
                </c:pt>
                <c:pt idx="130">
                  <c:v>07.12.21</c:v>
                </c:pt>
                <c:pt idx="131">
                  <c:v>08.12.21</c:v>
                </c:pt>
                <c:pt idx="132">
                  <c:v>09.12.21</c:v>
                </c:pt>
                <c:pt idx="133">
                  <c:v>10.12.21</c:v>
                </c:pt>
                <c:pt idx="134">
                  <c:v>11.12.21</c:v>
                </c:pt>
                <c:pt idx="135">
                  <c:v>12.12.21</c:v>
                </c:pt>
                <c:pt idx="136">
                  <c:v>13.12.21</c:v>
                </c:pt>
                <c:pt idx="137">
                  <c:v>14.12.21</c:v>
                </c:pt>
                <c:pt idx="138">
                  <c:v>15.12.21</c:v>
                </c:pt>
                <c:pt idx="139">
                  <c:v>16.12.21</c:v>
                </c:pt>
                <c:pt idx="140">
                  <c:v>17.12.21</c:v>
                </c:pt>
                <c:pt idx="141">
                  <c:v>18.12.21</c:v>
                </c:pt>
                <c:pt idx="142">
                  <c:v>19.12.21</c:v>
                </c:pt>
                <c:pt idx="143">
                  <c:v>20.12.21</c:v>
                </c:pt>
                <c:pt idx="144">
                  <c:v>21.12.21</c:v>
                </c:pt>
                <c:pt idx="145">
                  <c:v>22.12.21</c:v>
                </c:pt>
                <c:pt idx="146">
                  <c:v>23.12.21</c:v>
                </c:pt>
                <c:pt idx="147">
                  <c:v>24.12.21</c:v>
                </c:pt>
                <c:pt idx="148">
                  <c:v>25.12.21</c:v>
                </c:pt>
                <c:pt idx="149">
                  <c:v>26.12.21</c:v>
                </c:pt>
                <c:pt idx="150">
                  <c:v>27.12.21</c:v>
                </c:pt>
                <c:pt idx="151">
                  <c:v>28.12.21</c:v>
                </c:pt>
                <c:pt idx="152">
                  <c:v>29.12.21</c:v>
                </c:pt>
                <c:pt idx="153">
                  <c:v>30.12.21</c:v>
                </c:pt>
                <c:pt idx="154">
                  <c:v>31.12.21</c:v>
                </c:pt>
                <c:pt idx="155">
                  <c:v>01.01.22</c:v>
                </c:pt>
                <c:pt idx="156">
                  <c:v>02.01.22</c:v>
                </c:pt>
                <c:pt idx="157">
                  <c:v>03.01.22</c:v>
                </c:pt>
                <c:pt idx="158">
                  <c:v>04.01.22</c:v>
                </c:pt>
                <c:pt idx="159">
                  <c:v>05.01.22</c:v>
                </c:pt>
                <c:pt idx="160">
                  <c:v>06.01.22</c:v>
                </c:pt>
                <c:pt idx="161">
                  <c:v>07.01.22</c:v>
                </c:pt>
                <c:pt idx="162">
                  <c:v>08.01.22</c:v>
                </c:pt>
                <c:pt idx="163">
                  <c:v>09.01.22</c:v>
                </c:pt>
                <c:pt idx="164">
                  <c:v>10.01.22</c:v>
                </c:pt>
                <c:pt idx="165">
                  <c:v>11.01.22</c:v>
                </c:pt>
                <c:pt idx="166">
                  <c:v>12.01.22</c:v>
                </c:pt>
                <c:pt idx="167">
                  <c:v>13.01.22</c:v>
                </c:pt>
                <c:pt idx="168">
                  <c:v>14.01.22</c:v>
                </c:pt>
                <c:pt idx="169">
                  <c:v>15.01.22</c:v>
                </c:pt>
                <c:pt idx="170">
                  <c:v>16.01.22</c:v>
                </c:pt>
                <c:pt idx="171">
                  <c:v>17.01.22</c:v>
                </c:pt>
                <c:pt idx="172">
                  <c:v>18.01.22</c:v>
                </c:pt>
                <c:pt idx="173">
                  <c:v>19.01.22</c:v>
                </c:pt>
                <c:pt idx="174">
                  <c:v>20.01.22</c:v>
                </c:pt>
                <c:pt idx="175">
                  <c:v>21.01.22</c:v>
                </c:pt>
                <c:pt idx="176">
                  <c:v>22.01.22</c:v>
                </c:pt>
                <c:pt idx="177">
                  <c:v>23.01.22</c:v>
                </c:pt>
                <c:pt idx="178">
                  <c:v>24.01.22</c:v>
                </c:pt>
                <c:pt idx="179">
                  <c:v>25.01.22</c:v>
                </c:pt>
                <c:pt idx="180">
                  <c:v>26.01.22</c:v>
                </c:pt>
                <c:pt idx="181">
                  <c:v>27.01.22</c:v>
                </c:pt>
                <c:pt idx="182">
                  <c:v>28.01.22</c:v>
                </c:pt>
              </c:strCache>
            </c:strRef>
          </c:cat>
          <c:val>
            <c:numRef>
              <c:f>List1!$B$4:$GB$4</c:f>
              <c:numCache>
                <c:formatCode>General</c:formatCode>
                <c:ptCount val="183"/>
                <c:pt idx="0">
                  <c:v>81</c:v>
                </c:pt>
                <c:pt idx="1">
                  <c:v>81</c:v>
                </c:pt>
                <c:pt idx="2">
                  <c:v>79</c:v>
                </c:pt>
                <c:pt idx="3">
                  <c:v>77</c:v>
                </c:pt>
                <c:pt idx="4">
                  <c:v>79</c:v>
                </c:pt>
                <c:pt idx="5">
                  <c:v>81</c:v>
                </c:pt>
                <c:pt idx="6">
                  <c:v>77</c:v>
                </c:pt>
                <c:pt idx="7">
                  <c:v>78</c:v>
                </c:pt>
                <c:pt idx="8">
                  <c:v>77</c:v>
                </c:pt>
                <c:pt idx="9">
                  <c:v>75</c:v>
                </c:pt>
                <c:pt idx="10">
                  <c:v>78</c:v>
                </c:pt>
                <c:pt idx="11">
                  <c:v>77</c:v>
                </c:pt>
                <c:pt idx="12">
                  <c:v>77</c:v>
                </c:pt>
                <c:pt idx="13">
                  <c:v>76</c:v>
                </c:pt>
                <c:pt idx="14">
                  <c:v>82</c:v>
                </c:pt>
                <c:pt idx="15">
                  <c:v>83</c:v>
                </c:pt>
                <c:pt idx="16">
                  <c:v>83</c:v>
                </c:pt>
                <c:pt idx="17">
                  <c:v>81</c:v>
                </c:pt>
                <c:pt idx="18">
                  <c:v>78</c:v>
                </c:pt>
                <c:pt idx="19">
                  <c:v>77</c:v>
                </c:pt>
                <c:pt idx="20">
                  <c:v>75</c:v>
                </c:pt>
                <c:pt idx="21">
                  <c:v>77</c:v>
                </c:pt>
                <c:pt idx="22">
                  <c:v>78</c:v>
                </c:pt>
                <c:pt idx="23">
                  <c:v>79</c:v>
                </c:pt>
                <c:pt idx="24">
                  <c:v>76</c:v>
                </c:pt>
                <c:pt idx="25">
                  <c:v>77</c:v>
                </c:pt>
                <c:pt idx="26">
                  <c:v>81</c:v>
                </c:pt>
                <c:pt idx="27">
                  <c:v>79</c:v>
                </c:pt>
                <c:pt idx="28">
                  <c:v>77</c:v>
                </c:pt>
                <c:pt idx="29">
                  <c:v>75</c:v>
                </c:pt>
                <c:pt idx="30">
                  <c:v>76</c:v>
                </c:pt>
                <c:pt idx="31">
                  <c:v>74</c:v>
                </c:pt>
                <c:pt idx="32">
                  <c:v>75</c:v>
                </c:pt>
                <c:pt idx="33">
                  <c:v>77</c:v>
                </c:pt>
                <c:pt idx="34">
                  <c:v>81</c:v>
                </c:pt>
                <c:pt idx="35">
                  <c:v>83</c:v>
                </c:pt>
                <c:pt idx="36">
                  <c:v>86</c:v>
                </c:pt>
                <c:pt idx="37">
                  <c:v>85</c:v>
                </c:pt>
                <c:pt idx="38">
                  <c:v>89</c:v>
                </c:pt>
                <c:pt idx="39">
                  <c:v>90</c:v>
                </c:pt>
                <c:pt idx="40">
                  <c:v>87</c:v>
                </c:pt>
                <c:pt idx="41">
                  <c:v>86</c:v>
                </c:pt>
                <c:pt idx="42">
                  <c:v>88</c:v>
                </c:pt>
                <c:pt idx="43">
                  <c:v>87</c:v>
                </c:pt>
                <c:pt idx="44">
                  <c:v>90</c:v>
                </c:pt>
                <c:pt idx="45">
                  <c:v>91</c:v>
                </c:pt>
                <c:pt idx="46">
                  <c:v>91</c:v>
                </c:pt>
                <c:pt idx="47">
                  <c:v>95</c:v>
                </c:pt>
                <c:pt idx="48">
                  <c:v>98</c:v>
                </c:pt>
                <c:pt idx="49">
                  <c:v>96</c:v>
                </c:pt>
                <c:pt idx="50">
                  <c:v>95</c:v>
                </c:pt>
                <c:pt idx="51">
                  <c:v>98</c:v>
                </c:pt>
                <c:pt idx="52">
                  <c:v>99</c:v>
                </c:pt>
                <c:pt idx="53">
                  <c:v>106</c:v>
                </c:pt>
                <c:pt idx="54">
                  <c:v>113</c:v>
                </c:pt>
                <c:pt idx="55">
                  <c:v>115</c:v>
                </c:pt>
                <c:pt idx="56">
                  <c:v>118</c:v>
                </c:pt>
                <c:pt idx="57">
                  <c:v>121</c:v>
                </c:pt>
                <c:pt idx="58">
                  <c:v>120</c:v>
                </c:pt>
                <c:pt idx="59">
                  <c:v>124</c:v>
                </c:pt>
                <c:pt idx="60">
                  <c:v>129</c:v>
                </c:pt>
                <c:pt idx="61">
                  <c:v>130</c:v>
                </c:pt>
                <c:pt idx="62">
                  <c:v>135</c:v>
                </c:pt>
                <c:pt idx="63">
                  <c:v>138</c:v>
                </c:pt>
                <c:pt idx="64">
                  <c:v>140</c:v>
                </c:pt>
                <c:pt idx="65">
                  <c:v>142</c:v>
                </c:pt>
                <c:pt idx="66">
                  <c:v>144</c:v>
                </c:pt>
                <c:pt idx="67">
                  <c:v>146</c:v>
                </c:pt>
                <c:pt idx="68">
                  <c:v>155</c:v>
                </c:pt>
                <c:pt idx="69">
                  <c:v>161</c:v>
                </c:pt>
                <c:pt idx="70">
                  <c:v>166</c:v>
                </c:pt>
                <c:pt idx="71">
                  <c:v>171</c:v>
                </c:pt>
                <c:pt idx="72">
                  <c:v>173</c:v>
                </c:pt>
                <c:pt idx="73">
                  <c:v>182</c:v>
                </c:pt>
                <c:pt idx="74">
                  <c:v>211</c:v>
                </c:pt>
                <c:pt idx="75">
                  <c:v>217</c:v>
                </c:pt>
                <c:pt idx="76">
                  <c:v>225</c:v>
                </c:pt>
                <c:pt idx="77">
                  <c:v>229</c:v>
                </c:pt>
                <c:pt idx="78">
                  <c:v>235</c:v>
                </c:pt>
                <c:pt idx="79">
                  <c:v>239</c:v>
                </c:pt>
                <c:pt idx="80">
                  <c:v>266</c:v>
                </c:pt>
                <c:pt idx="81">
                  <c:v>306</c:v>
                </c:pt>
                <c:pt idx="82">
                  <c:v>343</c:v>
                </c:pt>
                <c:pt idx="83">
                  <c:v>382</c:v>
                </c:pt>
                <c:pt idx="84">
                  <c:v>413</c:v>
                </c:pt>
                <c:pt idx="85">
                  <c:v>436</c:v>
                </c:pt>
                <c:pt idx="86">
                  <c:v>449</c:v>
                </c:pt>
                <c:pt idx="87">
                  <c:v>497</c:v>
                </c:pt>
                <c:pt idx="88">
                  <c:v>551</c:v>
                </c:pt>
                <c:pt idx="89">
                  <c:v>600</c:v>
                </c:pt>
                <c:pt idx="90">
                  <c:v>623</c:v>
                </c:pt>
                <c:pt idx="91">
                  <c:v>688</c:v>
                </c:pt>
                <c:pt idx="92">
                  <c:v>732</c:v>
                </c:pt>
                <c:pt idx="93">
                  <c:v>761</c:v>
                </c:pt>
                <c:pt idx="94">
                  <c:v>834</c:v>
                </c:pt>
                <c:pt idx="95">
                  <c:v>907</c:v>
                </c:pt>
                <c:pt idx="96">
                  <c:v>968</c:v>
                </c:pt>
                <c:pt idx="97">
                  <c:v>1022</c:v>
                </c:pt>
                <c:pt idx="98">
                  <c:v>1109</c:v>
                </c:pt>
                <c:pt idx="99">
                  <c:v>1137</c:v>
                </c:pt>
                <c:pt idx="100">
                  <c:v>1139</c:v>
                </c:pt>
                <c:pt idx="101">
                  <c:v>1172</c:v>
                </c:pt>
                <c:pt idx="102">
                  <c:v>1244</c:v>
                </c:pt>
                <c:pt idx="103">
                  <c:v>1320</c:v>
                </c:pt>
                <c:pt idx="104">
                  <c:v>1406</c:v>
                </c:pt>
                <c:pt idx="105">
                  <c:v>1468</c:v>
                </c:pt>
                <c:pt idx="106">
                  <c:v>1515</c:v>
                </c:pt>
                <c:pt idx="107">
                  <c:v>1525</c:v>
                </c:pt>
                <c:pt idx="108">
                  <c:v>1512</c:v>
                </c:pt>
                <c:pt idx="109">
                  <c:v>1584</c:v>
                </c:pt>
                <c:pt idx="110">
                  <c:v>1636</c:v>
                </c:pt>
                <c:pt idx="111">
                  <c:v>1682</c:v>
                </c:pt>
                <c:pt idx="112">
                  <c:v>1813</c:v>
                </c:pt>
                <c:pt idx="113">
                  <c:v>1893</c:v>
                </c:pt>
                <c:pt idx="114">
                  <c:v>1940</c:v>
                </c:pt>
                <c:pt idx="115">
                  <c:v>1974</c:v>
                </c:pt>
                <c:pt idx="116">
                  <c:v>2024</c:v>
                </c:pt>
                <c:pt idx="117">
                  <c:v>2066</c:v>
                </c:pt>
                <c:pt idx="118">
                  <c:v>2183</c:v>
                </c:pt>
                <c:pt idx="119">
                  <c:v>2168</c:v>
                </c:pt>
                <c:pt idx="120">
                  <c:v>2216</c:v>
                </c:pt>
                <c:pt idx="121">
                  <c:v>2238</c:v>
                </c:pt>
                <c:pt idx="122">
                  <c:v>2208</c:v>
                </c:pt>
                <c:pt idx="123">
                  <c:v>2192</c:v>
                </c:pt>
                <c:pt idx="124">
                  <c:v>2280</c:v>
                </c:pt>
                <c:pt idx="125">
                  <c:v>2182</c:v>
                </c:pt>
                <c:pt idx="126">
                  <c:v>2117</c:v>
                </c:pt>
                <c:pt idx="127">
                  <c:v>2120</c:v>
                </c:pt>
                <c:pt idx="128">
                  <c:v>2097</c:v>
                </c:pt>
                <c:pt idx="129">
                  <c:v>2015</c:v>
                </c:pt>
                <c:pt idx="130">
                  <c:v>1973</c:v>
                </c:pt>
                <c:pt idx="131">
                  <c:v>1914</c:v>
                </c:pt>
                <c:pt idx="132">
                  <c:v>1848</c:v>
                </c:pt>
                <c:pt idx="133">
                  <c:v>1781</c:v>
                </c:pt>
                <c:pt idx="134">
                  <c:v>1782</c:v>
                </c:pt>
                <c:pt idx="135">
                  <c:v>1757</c:v>
                </c:pt>
                <c:pt idx="136">
                  <c:v>1634</c:v>
                </c:pt>
                <c:pt idx="137">
                  <c:v>1625</c:v>
                </c:pt>
                <c:pt idx="138">
                  <c:v>1590</c:v>
                </c:pt>
                <c:pt idx="139">
                  <c:v>1526</c:v>
                </c:pt>
                <c:pt idx="140">
                  <c:v>1477</c:v>
                </c:pt>
                <c:pt idx="141">
                  <c:v>1474</c:v>
                </c:pt>
                <c:pt idx="142">
                  <c:v>1444</c:v>
                </c:pt>
                <c:pt idx="143">
                  <c:v>1321</c:v>
                </c:pt>
                <c:pt idx="144">
                  <c:v>1260</c:v>
                </c:pt>
                <c:pt idx="145">
                  <c:v>1190</c:v>
                </c:pt>
                <c:pt idx="146">
                  <c:v>1168</c:v>
                </c:pt>
                <c:pt idx="147">
                  <c:v>1084</c:v>
                </c:pt>
                <c:pt idx="148">
                  <c:v>1047</c:v>
                </c:pt>
                <c:pt idx="149">
                  <c:v>1010</c:v>
                </c:pt>
                <c:pt idx="150">
                  <c:v>883</c:v>
                </c:pt>
                <c:pt idx="151">
                  <c:v>879</c:v>
                </c:pt>
                <c:pt idx="152">
                  <c:v>842</c:v>
                </c:pt>
                <c:pt idx="153">
                  <c:v>815</c:v>
                </c:pt>
                <c:pt idx="154">
                  <c:v>802</c:v>
                </c:pt>
                <c:pt idx="155">
                  <c:v>774</c:v>
                </c:pt>
                <c:pt idx="156">
                  <c:v>744</c:v>
                </c:pt>
                <c:pt idx="157">
                  <c:v>710</c:v>
                </c:pt>
                <c:pt idx="158">
                  <c:v>736</c:v>
                </c:pt>
                <c:pt idx="159">
                  <c:v>739</c:v>
                </c:pt>
                <c:pt idx="160">
                  <c:v>769</c:v>
                </c:pt>
                <c:pt idx="161">
                  <c:v>821</c:v>
                </c:pt>
                <c:pt idx="162">
                  <c:v>833</c:v>
                </c:pt>
                <c:pt idx="163">
                  <c:v>828</c:v>
                </c:pt>
                <c:pt idx="164">
                  <c:v>814</c:v>
                </c:pt>
                <c:pt idx="165">
                  <c:v>838</c:v>
                </c:pt>
                <c:pt idx="166">
                  <c:v>869</c:v>
                </c:pt>
                <c:pt idx="167">
                  <c:v>877</c:v>
                </c:pt>
                <c:pt idx="168">
                  <c:v>919</c:v>
                </c:pt>
                <c:pt idx="169">
                  <c:v>961</c:v>
                </c:pt>
                <c:pt idx="170">
                  <c:v>978</c:v>
                </c:pt>
                <c:pt idx="171">
                  <c:v>1043</c:v>
                </c:pt>
                <c:pt idx="172">
                  <c:v>1171</c:v>
                </c:pt>
                <c:pt idx="173">
                  <c:v>1313</c:v>
                </c:pt>
                <c:pt idx="174">
                  <c:v>1469</c:v>
                </c:pt>
                <c:pt idx="175">
                  <c:v>1509</c:v>
                </c:pt>
                <c:pt idx="176">
                  <c:v>1553</c:v>
                </c:pt>
                <c:pt idx="177">
                  <c:v>1553</c:v>
                </c:pt>
                <c:pt idx="178">
                  <c:v>1648</c:v>
                </c:pt>
                <c:pt idx="179">
                  <c:v>1907</c:v>
                </c:pt>
                <c:pt idx="180">
                  <c:v>2228</c:v>
                </c:pt>
                <c:pt idx="181">
                  <c:v>2295</c:v>
                </c:pt>
                <c:pt idx="182">
                  <c:v>25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37CD-4BA3-857E-B86804E5EE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30.01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95348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61506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38455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4891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95533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368077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572051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389165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33093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830327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844982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309397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44313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44313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017834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409036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841529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84567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88844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89344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66172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51231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82131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91496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31954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0.svg"/><Relationship Id="rId5" Type="http://schemas.openxmlformats.org/officeDocument/2006/relationships/image" Target="../media/image13.png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039226"/>
            <a:ext cx="11487705" cy="5587305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1FBEFA6-3CC9-4A8B-98AB-811AE091489A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C2747F8C-F296-41AB-B6E6-650FFEA0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928806D-A537-4323-B4ED-4983696D2AF8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B2B0A03-1219-4FC5-81C7-A43DCB123A0C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2E921148-1008-412D-AB36-245237C3D6B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28" name="Obrázek 2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480755B3-A38B-4215-974C-50EA6F6649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23" name="Grafický objekt 22">
              <a:extLst>
                <a:ext uri="{FF2B5EF4-FFF2-40B4-BE49-F238E27FC236}">
                  <a16:creationId xmlns:a16="http://schemas.microsoft.com/office/drawing/2014/main" id="{1A14BE4F-72B2-49A1-B4A4-7983F7AE57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751BB3-54BB-497C-9D87-7331E6365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69F060A-A852-4CAC-8567-9FF26BE2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A874AFF-9D96-448C-A700-2FC369C17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EB687C-F962-4BE7-8278-3C31FC255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01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8620F06-EBA0-40CC-9A9C-15001C53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FDE4CA-77DD-417D-8C54-07ECB9628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298858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F8E94-026C-4341-B09E-E0FB30A2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70218-0D2B-45AF-8CEE-4DF7A0BA9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FFD3F4B-DA25-4423-9234-6270FB4E0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E2AC16-B4BF-4A45-92DD-CD16581B2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000A558-D06F-4CAD-88FC-71F13523F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18A76E9-680A-4BC2-86CB-5D2DB66F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01.2022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52DBE4-0E61-401B-BD63-91D12BCAE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424E131-06CD-4DDF-BC06-F98D2D3B9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879045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5B3AFD-D5D4-46CB-9F1D-95D2EFDFB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1BD99F9-6247-4A54-87C4-9749A54B1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01.2022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DBF052-AB7F-4048-9680-0492DCE6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92A02BA-2BB6-4CF6-8B58-CFAA66013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467086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12E4EC-12D7-42E4-AE43-F6D7008AB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01.2022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06D130-0739-4330-9775-702FDF7EE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4FAE36-22DA-4CEF-82CE-F85F3D6E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249992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0AC2F0-B610-42BD-9258-BE4E8A47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94586C-48B1-4459-A0A6-DFA4C0FE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618E00B-DFA9-4ABA-9E89-EC4C6B3AC9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E3D956F-D736-467D-809E-A6B8EBBB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01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A2BC7A4-764C-4169-ADBC-7F1248B44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FFD62-2584-4271-8B43-930689E42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405233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5F6CA7-4510-4C38-AB29-269B0667E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5F525D-76F8-4F89-ACDB-370F1E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13CD65-3F93-416A-8079-50A6B39FD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FE6EB9A-EACF-42B5-8677-B501B2A42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01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CB2E11-5C59-4983-B23C-94050313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284666C-EC8D-44A8-94DD-5735F9059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79097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C593D8-E6C3-42E0-91E5-34BBFE763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D27C9F-D286-49AD-B637-AB03985B6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051D3F-4680-4DFE-9D28-92707289C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0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A2C8DA-A4B9-4CA7-8902-C297ECB62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C9B13D-3976-43E2-9805-3E309ABC7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6871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2A4CD9B6-8A80-4B59-B5D5-0A7202A073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D6E8B14-04CE-430A-97C5-E63E3AC624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124C15-1E21-44AA-B0CF-567922D2D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0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7C4AD0-92D5-4BED-AD8D-2078F6B7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065E49F-34C0-46C8-AAEF-3C9FAFE7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326330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2921412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0347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DC58920C-B9EC-4A94-B9EB-451592F3EED9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A3C58891-14E6-4818-B969-C72F93F08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B49FBB4-BF51-45C2-86CA-B4502DA62936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14" name="Skupina 13">
              <a:extLst>
                <a:ext uri="{FF2B5EF4-FFF2-40B4-BE49-F238E27FC236}">
                  <a16:creationId xmlns:a16="http://schemas.microsoft.com/office/drawing/2014/main" id="{1533BE81-CFEE-48A9-AF03-143EC513CB79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BA1D09A-64DD-4910-BF60-CC7075472A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8" name="Obrázek 1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3A04F306-61D6-499B-9F34-24714C7AFEA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62747C58-6152-448D-9270-C4FE61C51F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07777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15433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41028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6814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08205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920660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1153189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249344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00271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2544834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al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57251005-B581-4C6B-9623-FE7C9E672C61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2ABA8342-40EF-4EF8-878F-E756BF1AAB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C133C2D-E49B-4A76-8E4C-79637436790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02342" y="93094"/>
            <a:ext cx="4017507" cy="504000"/>
            <a:chOff x="5972087" y="329946"/>
            <a:chExt cx="6026262" cy="73700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7B0E7EF1-130B-4AF3-9B9B-F57B675459BE}"/>
                </a:ext>
              </a:extLst>
            </p:cNvPr>
            <p:cNvGrpSpPr/>
            <p:nvPr userDrawn="1"/>
          </p:nvGrpSpPr>
          <p:grpSpPr>
            <a:xfrm>
              <a:off x="8116661" y="331276"/>
              <a:ext cx="3881688" cy="450808"/>
              <a:chOff x="8214317" y="331276"/>
              <a:chExt cx="3881688" cy="450808"/>
            </a:xfrm>
          </p:grpSpPr>
          <p:pic>
            <p:nvPicPr>
              <p:cNvPr id="14" name="Grafický objekt 13">
                <a:extLst>
                  <a:ext uri="{FF2B5EF4-FFF2-40B4-BE49-F238E27FC236}">
                    <a16:creationId xmlns:a16="http://schemas.microsoft.com/office/drawing/2014/main" id="{5A70A0E6-773C-4F6E-853C-28A61AEF1D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71177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5" name="Obrázek 14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7F95AEA6-4367-4B52-93A3-3068041EC41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31276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ABAFA576-D9BF-4267-9BD2-2B78AD34E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054070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956129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24816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820466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9823708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1014941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98853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8312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520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A61EBA-4FFF-4673-9BA0-55E82F99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FDA1FA-15B4-46DB-8563-9D168899E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0E34FA4-860E-40B4-97AD-3CF9B2CE9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0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889F8-1CC5-41C1-BAF5-5D6BD0F6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A22AC9-06BD-4427-B62E-52F6A58CB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139218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30E577-8B32-4569-AC3C-76D6F2F6B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410C648-E034-410B-B01B-87701C835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5F7769-50EF-4D0F-97C4-6A5E9227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0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B6DB6D5-8367-4F80-AF41-87D069C8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F10414-C935-472D-B8FC-16EBD0EE0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23185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CBB21-C0F1-4B2B-8A1C-15DD2EBAB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818461-3C43-44FE-80B9-D048BFA8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07805A-C211-4BDC-8A7C-50C017CD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0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CF91BA1-1C1F-4294-9B84-82D31143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89D46F-E6FD-4433-AE57-F03CFCFF8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375455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1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63" r:id="rId3"/>
    <p:sldLayoutId id="2147483661" r:id="rId4"/>
    <p:sldLayoutId id="2147483665" r:id="rId5"/>
    <p:sldLayoutId id="2147483672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58AF7D2-4ED1-4129-9DE6-4BC40E78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4C08E0B-8703-4F4B-A221-FA41C8EDA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CDA1AE-D051-4265-B739-BBADD05EDA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58D0A-07E9-4A68-88A0-7C25FDBBE4AC}" type="datetimeFigureOut">
              <a:rPr lang="cs-CZ" smtClean="0"/>
              <a:t>30.0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14082-EF73-46FC-8343-A2A358277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998947-0E69-43B5-8B05-739CE4C1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59173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520971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5521610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3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10" Type="http://schemas.openxmlformats.org/officeDocument/2006/relationships/chart" Target="../charts/chart10.xml"/><Relationship Id="rId4" Type="http://schemas.openxmlformats.org/officeDocument/2006/relationships/tags" Target="../tags/tag5.xml"/><Relationship Id="rId9" Type="http://schemas.openxmlformats.org/officeDocument/2006/relationships/notesSlide" Target="../notesSlides/notesSlide2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chart" Target="../charts/chart11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10" Type="http://schemas.openxmlformats.org/officeDocument/2006/relationships/chart" Target="../charts/chart12.xml"/><Relationship Id="rId4" Type="http://schemas.openxmlformats.org/officeDocument/2006/relationships/tags" Target="../tags/tag14.xml"/><Relationship Id="rId9" Type="http://schemas.openxmlformats.org/officeDocument/2006/relationships/notesSlide" Target="../notesSlides/notesSlide2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4" Type="http://schemas.openxmlformats.org/officeDocument/2006/relationships/chart" Target="../charts/chart13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10" Type="http://schemas.openxmlformats.org/officeDocument/2006/relationships/chart" Target="../charts/chart14.xml"/><Relationship Id="rId4" Type="http://schemas.openxmlformats.org/officeDocument/2006/relationships/tags" Target="../tags/tag23.xml"/><Relationship Id="rId9" Type="http://schemas.openxmlformats.org/officeDocument/2006/relationships/notesSlide" Target="../notesSlides/notesSlide2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4" Type="http://schemas.openxmlformats.org/officeDocument/2006/relationships/chart" Target="../charts/char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10" Type="http://schemas.openxmlformats.org/officeDocument/2006/relationships/chart" Target="../charts/chart16.xml"/><Relationship Id="rId4" Type="http://schemas.openxmlformats.org/officeDocument/2006/relationships/tags" Target="../tags/tag32.xml"/><Relationship Id="rId9" Type="http://schemas.openxmlformats.org/officeDocument/2006/relationships/notesSlide" Target="../notesSlides/notesSlide2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chart" Target="../charts/chart17.xml"/><Relationship Id="rId5" Type="http://schemas.openxmlformats.org/officeDocument/2006/relationships/slideLayout" Target="../slideLayouts/slideLayout18.xml"/><Relationship Id="rId4" Type="http://schemas.openxmlformats.org/officeDocument/2006/relationships/tags" Target="../tags/tag3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4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4" Type="http://schemas.openxmlformats.org/officeDocument/2006/relationships/chart" Target="../charts/char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Zdravotničtí pracovníci: souhrnný přehled stavu očkování a zátěže COVID-19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11904359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69149" y="1996486"/>
            <a:ext cx="11853702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ysoká úroveň proočkovanosti je patrná u pracovník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akutní lůžkové péči a v záchranné zdravotnické službě: lékaři 88 % a sestry 84 %. Přesto </a:t>
            </a:r>
            <a:r>
              <a:rPr lang="cs-CZ" sz="3200" b="1" dirty="0">
                <a:latin typeface="Arial" panose="020B0604020202020204"/>
              </a:rPr>
              <a:t>i v této kategorii existuje prostor k posílení očkování, zejména v některých moravských regionech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Šipka dolů 10"/>
          <p:cNvSpPr/>
          <p:nvPr/>
        </p:nvSpPr>
        <p:spPr>
          <a:xfrm>
            <a:off x="5390575" y="4652888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49095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zdravotníci v nemocnicích akutní lůžkové péče a ZZS</a:t>
            </a:r>
          </a:p>
        </p:txBody>
      </p:sp>
      <p:graphicFrame>
        <p:nvGraphicFramePr>
          <p:cNvPr id="9" name="Chart 6">
            <a:extLst>
              <a:ext uri="{FF2B5EF4-FFF2-40B4-BE49-F238E27FC236}">
                <a16:creationId xmlns:a16="http://schemas.microsoft.com/office/drawing/2014/main" id="{95B21923-74CC-4971-8ACF-75603B949F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27985290"/>
              </p:ext>
            </p:extLst>
          </p:nvPr>
        </p:nvGraphicFramePr>
        <p:xfrm>
          <a:off x="10136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7">
            <a:extLst>
              <a:ext uri="{FF2B5EF4-FFF2-40B4-BE49-F238E27FC236}">
                <a16:creationId xmlns:a16="http://schemas.microsoft.com/office/drawing/2014/main" id="{859ED9E0-6A53-405A-BD02-85A115DFB578}"/>
              </a:ext>
            </a:extLst>
          </p:cNvPr>
          <p:cNvSpPr txBox="1"/>
          <p:nvPr/>
        </p:nvSpPr>
        <p:spPr>
          <a:xfrm>
            <a:off x="1653004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8DE006A4-47CC-483A-94C2-37A91796F0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3902348"/>
              </p:ext>
            </p:extLst>
          </p:nvPr>
        </p:nvGraphicFramePr>
        <p:xfrm>
          <a:off x="5070251" y="1245141"/>
          <a:ext cx="1013589" cy="5010075"/>
        </p:xfrm>
        <a:graphic>
          <a:graphicData uri="http://schemas.openxmlformats.org/drawingml/2006/table">
            <a:tbl>
              <a:tblPr/>
              <a:tblGrid>
                <a:gridCol w="1013589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1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354140"/>
            <a:ext cx="810516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14" name="TextBox 7">
            <a:extLst>
              <a:ext uri="{FF2B5EF4-FFF2-40B4-BE49-F238E27FC236}">
                <a16:creationId xmlns:a16="http://schemas.microsoft.com/office/drawing/2014/main" id="{F1F59839-6B54-4C6A-814C-0F7D2FA4596F}"/>
              </a:ext>
            </a:extLst>
          </p:cNvPr>
          <p:cNvSpPr txBox="1"/>
          <p:nvPr/>
        </p:nvSpPr>
        <p:spPr>
          <a:xfrm>
            <a:off x="267310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Lékaři </a:t>
            </a:r>
            <a:r>
              <a:rPr lang="cs-CZ" sz="1400" dirty="0"/>
              <a:t>(včetně zubních lékařů)</a:t>
            </a:r>
            <a:endParaRPr lang="cs-CZ" dirty="0"/>
          </a:p>
        </p:txBody>
      </p:sp>
      <p:graphicFrame>
        <p:nvGraphicFramePr>
          <p:cNvPr id="15" name="Chart 6">
            <a:extLst>
              <a:ext uri="{FF2B5EF4-FFF2-40B4-BE49-F238E27FC236}">
                <a16:creationId xmlns:a16="http://schemas.microsoft.com/office/drawing/2014/main" id="{04728811-3D14-4440-A95A-65B5E4851A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25841735"/>
              </p:ext>
            </p:extLst>
          </p:nvPr>
        </p:nvGraphicFramePr>
        <p:xfrm>
          <a:off x="6185074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TextBox 7">
            <a:extLst>
              <a:ext uri="{FF2B5EF4-FFF2-40B4-BE49-F238E27FC236}">
                <a16:creationId xmlns:a16="http://schemas.microsoft.com/office/drawing/2014/main" id="{68CBEAFC-AB11-4E0B-8467-5B7AAE3834DA}"/>
              </a:ext>
            </a:extLst>
          </p:cNvPr>
          <p:cNvSpPr txBox="1"/>
          <p:nvPr/>
        </p:nvSpPr>
        <p:spPr>
          <a:xfrm>
            <a:off x="7827942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8E50632-3864-418D-91C6-3A9FEBF812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2051068"/>
              </p:ext>
            </p:extLst>
          </p:nvPr>
        </p:nvGraphicFramePr>
        <p:xfrm>
          <a:off x="11181969" y="1244893"/>
          <a:ext cx="950976" cy="5010075"/>
        </p:xfrm>
        <a:graphic>
          <a:graphicData uri="http://schemas.openxmlformats.org/drawingml/2006/table">
            <a:tbl>
              <a:tblPr/>
              <a:tblGrid>
                <a:gridCol w="950976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4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8" name="TextBox 7">
            <a:extLst>
              <a:ext uri="{FF2B5EF4-FFF2-40B4-BE49-F238E27FC236}">
                <a16:creationId xmlns:a16="http://schemas.microsoft.com/office/drawing/2014/main" id="{0A250D1E-21AE-452B-8E14-DA72C406298D}"/>
              </a:ext>
            </a:extLst>
          </p:cNvPr>
          <p:cNvSpPr txBox="1"/>
          <p:nvPr/>
        </p:nvSpPr>
        <p:spPr>
          <a:xfrm>
            <a:off x="6442248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Sestry*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FD5F7F0-9879-44F5-8A51-0926E63C659F}"/>
              </a:ext>
            </a:extLst>
          </p:cNvPr>
          <p:cNvSpPr/>
          <p:nvPr/>
        </p:nvSpPr>
        <p:spPr>
          <a:xfrm>
            <a:off x="8410574" y="6354140"/>
            <a:ext cx="342900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/>
              <a:t>*Sestry</a:t>
            </a:r>
            <a:r>
              <a:rPr lang="cs-CZ" sz="1100" dirty="0"/>
              <a:t> - § 5 Všeobecná sestra, § 5a Dětská sestra, § 6 Porodní asistentka, § 21b Praktická sestra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5427835" y="596549"/>
            <a:ext cx="20097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400" b="1" dirty="0"/>
              <a:t>Stav k 28. 1. 2022 </a:t>
            </a:r>
          </a:p>
        </p:txBody>
      </p:sp>
    </p:spTree>
    <p:extLst>
      <p:ext uri="{BB962C8B-B14F-4D97-AF65-F5344CB8AC3E}">
        <p14:creationId xmlns:p14="http://schemas.microsoft.com/office/powerpoint/2010/main" val="29716961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552450" y="833301"/>
            <a:ext cx="1103947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zi skupinami zdravotnických pracovníků je nejnižší proočkovanost u nelékařských zdravotnických pracovníků, která dosahuje 81 %.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73256" y="3241554"/>
            <a:ext cx="1185370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př. profese sanitáře a fyzioterapeuta patřila mezi nejčastěji nakažené, jak dokládají reprezentativní data. Přitom jde o pracovníky s velkým počtem kontaktů ve zdravotnických zařízeních. Posílení očkování i u těchto zdravotnických profesí je potřebné.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289224" y="6024699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289224" y="256834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3300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01/2021 – 01/2022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0553929A-22E7-4A3C-B2A6-F2301789E83D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8. 1. 2022</a:t>
            </a:r>
          </a:p>
        </p:txBody>
      </p:sp>
    </p:spTree>
    <p:extLst>
      <p:ext uri="{BB962C8B-B14F-4D97-AF65-F5344CB8AC3E}">
        <p14:creationId xmlns:p14="http://schemas.microsoft.com/office/powerpoint/2010/main" val="16451423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10/2021 – 01/2022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CE819702-3927-4B90-94FB-62346EEA34F0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8. 1. 2022</a:t>
            </a:r>
          </a:p>
        </p:txBody>
      </p:sp>
    </p:spTree>
    <p:extLst>
      <p:ext uri="{BB962C8B-B14F-4D97-AF65-F5344CB8AC3E}">
        <p14:creationId xmlns:p14="http://schemas.microsoft.com/office/powerpoint/2010/main" val="11197486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01/2022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CE819702-3927-4B90-94FB-62346EEA34F0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8. 1. 2022</a:t>
            </a:r>
          </a:p>
        </p:txBody>
      </p:sp>
    </p:spTree>
    <p:extLst>
      <p:ext uri="{BB962C8B-B14F-4D97-AF65-F5344CB8AC3E}">
        <p14:creationId xmlns:p14="http://schemas.microsoft.com/office/powerpoint/2010/main" val="27253677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aktivní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28. 1. 2022 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9969016"/>
              </p:ext>
            </p:extLst>
          </p:nvPr>
        </p:nvGraphicFramePr>
        <p:xfrm>
          <a:off x="356585" y="1390933"/>
          <a:ext cx="11273440" cy="42738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67965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68436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sz="1600" dirty="0"/>
                        <a:t>evidovaní v NZIS**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čet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díl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0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85223301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8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55133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17754198"/>
                  </a:ext>
                </a:extLst>
              </a:tr>
              <a:tr h="52218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  <a:p>
                      <a:pPr algn="l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§ 8 Radiologický asistent, § 9 Zdravotní laborant, § 26 Odborný pracovník v laboratorních metodách a v přípravě léčivých přípravků, § 30 Laboratorní asistent, § 41 Autoptický laborant)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30714590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2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</a:tbl>
          </a:graphicData>
        </a:graphic>
      </p:graphicFrame>
      <p:sp>
        <p:nvSpPr>
          <p:cNvPr id="11" name="Obdélník 10">
            <a:extLst>
              <a:ext uri="{FF2B5EF4-FFF2-40B4-BE49-F238E27FC236}">
                <a16:creationId xmlns:a16="http://schemas.microsoft.com/office/drawing/2014/main" id="{6BEBD7D0-42BD-498C-808F-66E0FCBEB10D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4358378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379022F3-AFCC-46A2-887F-6D6D3608AD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2673918"/>
              </p:ext>
            </p:extLst>
          </p:nvPr>
        </p:nvGraphicFramePr>
        <p:xfrm>
          <a:off x="1943099" y="1600994"/>
          <a:ext cx="9946013" cy="4555950"/>
        </p:xfrm>
        <a:graphic>
          <a:graphicData uri="http://schemas.openxmlformats.org/drawingml/2006/table">
            <a:tbl>
              <a:tblPr/>
              <a:tblGrid>
                <a:gridCol w="1420859">
                  <a:extLst>
                    <a:ext uri="{9D8B030D-6E8A-4147-A177-3AD203B41FA5}">
                      <a16:colId xmlns:a16="http://schemas.microsoft.com/office/drawing/2014/main" val="1492104503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3134814928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3789351135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1479205330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614500617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42183070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4208381542"/>
                    </a:ext>
                  </a:extLst>
                </a:gridCol>
              </a:tblGrid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BD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5707132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5C8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3C8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3929200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CD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D4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2467402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3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4828881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4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8840375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D4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8155760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66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3075573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DCF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6370332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D4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2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1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07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4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6743207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1C7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DD4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0231273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8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0098018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C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57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7285326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DF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6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0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4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F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7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A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3383483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8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26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5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2597700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8661902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NLZP v nemocnicích akutní lůžkové péče a ZZS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401765"/>
            <a:ext cx="1175324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pPr algn="ctr"/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297312" y="614100"/>
            <a:ext cx="19696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28. 1. 2022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02BA253-3FCF-4619-85EA-CE8807BFEB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8235778"/>
              </p:ext>
            </p:extLst>
          </p:nvPr>
        </p:nvGraphicFramePr>
        <p:xfrm>
          <a:off x="302889" y="921878"/>
          <a:ext cx="11586222" cy="5235072"/>
        </p:xfrm>
        <a:graphic>
          <a:graphicData uri="http://schemas.openxmlformats.org/drawingml/2006/table">
            <a:tbl>
              <a:tblPr/>
              <a:tblGrid>
                <a:gridCol w="1640944">
                  <a:extLst>
                    <a:ext uri="{9D8B030D-6E8A-4147-A177-3AD203B41FA5}">
                      <a16:colId xmlns:a16="http://schemas.microsoft.com/office/drawing/2014/main" val="974880782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441195149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3499224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0480325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85756655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038756237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34387120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3794948740"/>
                    </a:ext>
                  </a:extLst>
                </a:gridCol>
              </a:tblGrid>
              <a:tr h="657859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rmaceuti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armaceut, § 19 Farmaceutický asistent)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36 Ošetřovatel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42 Sanit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18 Zdravotnický záchran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24 Fyzioterapeut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boratorní pracovníci *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NLZP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825326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1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85 (8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9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2 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91 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6 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952797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 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 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70 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6 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8 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9 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1 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26160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 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 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2 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 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7 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6 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9404468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 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 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1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 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 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 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 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5881402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6 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 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 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078210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 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67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 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2802116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(8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3 (8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 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 (7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2 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742844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 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1 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 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 (7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0 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030945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4 (7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 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 (7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 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1198027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3 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 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8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 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3674140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1 (7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 (8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00 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 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 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93 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0 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339702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3 (7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 (7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6 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 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7693671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 (7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7 (7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 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9 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 (7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90746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 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7 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5 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 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7 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9 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1 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10140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53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84 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347 (8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66 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25 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211 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728 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49192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EE8DF9DD-84CF-4A37-A410-0264FC601949}"/>
              </a:ext>
            </a:extLst>
          </p:cNvPr>
          <p:cNvSpPr/>
          <p:nvPr/>
        </p:nvSpPr>
        <p:spPr>
          <a:xfrm>
            <a:off x="1476376" y="6151138"/>
            <a:ext cx="1054448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§ 8 Radiologický asistent, § 9 Zdravotní laborant, § 26 Odborný pracovník v laboratorních metodách a v přípravě léčivých přípravků, § 30 Laboratorní asistent, § 41 Autoptický laborant</a:t>
            </a:r>
            <a:endParaRPr lang="cs-CZ" sz="1000" dirty="0"/>
          </a:p>
        </p:txBody>
      </p:sp>
    </p:spTree>
    <p:extLst>
      <p:ext uri="{BB962C8B-B14F-4D97-AF65-F5344CB8AC3E}">
        <p14:creationId xmlns:p14="http://schemas.microsoft.com/office/powerpoint/2010/main" val="34148535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FC32B7A6-57CA-4D6C-9992-8EF8B41F2C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0663902"/>
              </p:ext>
            </p:extLst>
          </p:nvPr>
        </p:nvGraphicFramePr>
        <p:xfrm>
          <a:off x="2419350" y="1343819"/>
          <a:ext cx="9600585" cy="44857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262658174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86926783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7489422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62994299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28700170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45230131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87894728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31033287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67819678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47050709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67788107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18376438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88635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24116272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969536547"/>
                    </a:ext>
                  </a:extLst>
                </a:gridCol>
              </a:tblGrid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839798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B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1014713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7538036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5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3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F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2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4163150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9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0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E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757892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4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7C4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959828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050575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0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C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111864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646755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631950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6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F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7132440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635942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2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29794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lékaři* podle typu zdravotnického zařízení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28. 1. 2022 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D48C377-98E3-4540-BFE1-BA921AC0BA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1397837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64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1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5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7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5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8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12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2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4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5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Lékaři včetně zubních lékařů; jedna osoba může pracovat ve více krajích </a:t>
            </a:r>
            <a:r>
              <a:rPr lang="cs-CZ" sz="1100" dirty="0">
                <a:solidFill>
                  <a:srgbClr val="000000"/>
                </a:solidFill>
              </a:rPr>
              <a:t>a ve více typech zdravotnických zařízení. 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2148492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5A5251AF-15E8-4461-9F36-355A65D0B9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7757452"/>
              </p:ext>
            </p:extLst>
          </p:nvPr>
        </p:nvGraphicFramePr>
        <p:xfrm>
          <a:off x="2419350" y="1343819"/>
          <a:ext cx="9600585" cy="44857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209993790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2856363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18885264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95355201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83538841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86287354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29379519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78587880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72837957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79223623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09431977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7904148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56547399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7795838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812370577"/>
                    </a:ext>
                  </a:extLst>
                </a:gridCol>
              </a:tblGrid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14120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816608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489738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8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746921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1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936729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0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252792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858113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9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386856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1931843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7640336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D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580378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B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966604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CCA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B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7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5330162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é sestry* podle typu zdravotnického zařízení</a:t>
            </a: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§ 5 Všeobecná sestra, § 5a Dětská sestra, § 6 Porodní asistentka, § 21b Praktická sestra; jedna osoba může pracovat ve více krajích </a:t>
            </a:r>
            <a:r>
              <a:rPr lang="cs-CZ" sz="1100" dirty="0">
                <a:solidFill>
                  <a:srgbClr val="000000"/>
                </a:solidFill>
              </a:rPr>
              <a:t>a ve více typech zdravotnických zařízení.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7D8455FB-AA19-461A-A8C9-7539A364F2DC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28. 1. 2022 </a:t>
            </a:r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AF1561B3-7273-473B-A2DD-A77D8870E0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4111292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3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2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78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5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8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3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1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0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8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00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7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870923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4400" dirty="0">
                <a:solidFill>
                  <a:srgbClr val="000000"/>
                </a:solidFill>
              </a:rPr>
              <a:t>Přehled stavu očkování ZP </a:t>
            </a: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1428029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3E08220F-8F44-4BD9-909C-F0EB21AFE3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3262870"/>
              </p:ext>
            </p:extLst>
          </p:nvPr>
        </p:nvGraphicFramePr>
        <p:xfrm>
          <a:off x="2419350" y="1343819"/>
          <a:ext cx="9600585" cy="44857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114651645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48569839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6707543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32930581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94342744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20699709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18107947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54870207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54761846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35008806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1037532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17137650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01885827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86146839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172704187"/>
                    </a:ext>
                  </a:extLst>
                </a:gridCol>
              </a:tblGrid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143904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3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252374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5857506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5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2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0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6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087405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8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165936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2321200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7153830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1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1500836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368487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066353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0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0975423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57343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1129396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ostatní ZP* podle typu zdravotnického zařízení</a:t>
            </a: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NLZP § 7 až § 42 kromě § 21b, farmaceuti; jedna osoba může pracovat ve více krajích a ve více typech zdravotnických zařízení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8BE7577-D0D0-4CAF-8960-5C7A9603C643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28. 1. 2022 </a:t>
            </a:r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50FC5E21-D439-468C-9A0B-56B392BA28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2057775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9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41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3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7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8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0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8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90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3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89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45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52786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oučasné nákazy a virová zátěž ZP 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242921182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(incidence),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v k 28. 1. 2022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/>
        </p:nvGraphicFramePr>
        <p:xfrm>
          <a:off x="142875" y="1119730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09675"/>
          <a:ext cx="4661411" cy="5209594"/>
        </p:xfrm>
        <a:graphic>
          <a:graphicData uri="http://schemas.openxmlformats.org/drawingml/2006/table">
            <a:tbl>
              <a:tblPr/>
              <a:tblGrid>
                <a:gridCol w="145311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40544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02075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7280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 denní klouzavý průměr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poslední den)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9 (3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2 (7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2 (7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 (18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0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6 (3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5 (3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(8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4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4 (2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5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5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4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3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5 (2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9 (3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6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2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0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3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8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9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5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3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1 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3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1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9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3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3 (2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9 (4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7 (4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(1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7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8 (2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5 (2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6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5 (3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1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5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2 (2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2 (6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6 (6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(14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28 (15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97 (42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74 (39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9 (97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cxnSp>
        <p:nvCxnSpPr>
          <p:cNvPr id="14" name="Straight Connector 4">
            <a:extLst>
              <a:ext uri="{FF2B5EF4-FFF2-40B4-BE49-F238E27FC236}">
                <a16:creationId xmlns:a16="http://schemas.microsoft.com/office/drawing/2014/main" id="{F5F70D9E-87A2-4BFA-BE04-CC7F4241D0B4}"/>
              </a:ext>
            </a:extLst>
          </p:cNvPr>
          <p:cNvCxnSpPr/>
          <p:nvPr/>
        </p:nvCxnSpPr>
        <p:spPr>
          <a:xfrm>
            <a:off x="3807903" y="1540420"/>
            <a:ext cx="216000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">
            <a:extLst>
              <a:ext uri="{FF2B5EF4-FFF2-40B4-BE49-F238E27FC236}">
                <a16:creationId xmlns:a16="http://schemas.microsoft.com/office/drawing/2014/main" id="{39CA3BBA-412B-4A3C-ADC1-DAF4B494D04F}"/>
              </a:ext>
            </a:extLst>
          </p:cNvPr>
          <p:cNvSpPr txBox="1"/>
          <p:nvPr/>
        </p:nvSpPr>
        <p:spPr>
          <a:xfrm>
            <a:off x="3990845" y="1371146"/>
            <a:ext cx="1341224" cy="597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7 denní klouzavý průměr</a:t>
            </a:r>
          </a:p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nní hodnoty</a:t>
            </a:r>
          </a:p>
        </p:txBody>
      </p:sp>
      <p:cxnSp>
        <p:nvCxnSpPr>
          <p:cNvPr id="17" name="Straight Connector 4">
            <a:extLst>
              <a:ext uri="{FF2B5EF4-FFF2-40B4-BE49-F238E27FC236}">
                <a16:creationId xmlns:a16="http://schemas.microsoft.com/office/drawing/2014/main" id="{49368D80-8513-4AF4-B12A-04F7F7E5994A}"/>
              </a:ext>
            </a:extLst>
          </p:cNvPr>
          <p:cNvCxnSpPr/>
          <p:nvPr/>
        </p:nvCxnSpPr>
        <p:spPr>
          <a:xfrm>
            <a:off x="3807903" y="1835695"/>
            <a:ext cx="216000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5">
            <a:extLst>
              <a:ext uri="{FF2B5EF4-FFF2-40B4-BE49-F238E27FC236}">
                <a16:creationId xmlns:a16="http://schemas.microsoft.com/office/drawing/2014/main" id="{5F83CAAA-A3F3-4137-A444-807362C84989}"/>
              </a:ext>
            </a:extLst>
          </p:cNvPr>
          <p:cNvSpPr txBox="1"/>
          <p:nvPr/>
        </p:nvSpPr>
        <p:spPr>
          <a:xfrm>
            <a:off x="5501588" y="1322349"/>
            <a:ext cx="1341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oslední den:</a:t>
            </a:r>
          </a:p>
        </p:txBody>
      </p:sp>
    </p:spTree>
    <p:extLst>
      <p:ext uri="{BB962C8B-B14F-4D97-AF65-F5344CB8AC3E}">
        <p14:creationId xmlns:p14="http://schemas.microsoft.com/office/powerpoint/2010/main" val="426143306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4E2462CD-2C28-4222-9D6A-55BCDDF9CD02}"/>
              </a:ext>
            </a:extLst>
          </p:cNvPr>
          <p:cNvGraphicFramePr/>
          <p:nvPr/>
        </p:nvGraphicFramePr>
        <p:xfrm>
          <a:off x="142875" y="1083825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ktuální počet COVID-19 pozitivních (prevalence)*,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v k 28. 1. 2022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723900" y="6567385"/>
            <a:ext cx="493395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56231"/>
          <a:ext cx="4752977" cy="4745385"/>
        </p:xfrm>
        <a:graphic>
          <a:graphicData uri="http://schemas.openxmlformats.org/drawingml/2006/table">
            <a:tbl>
              <a:tblPr/>
              <a:tblGrid>
                <a:gridCol w="1456505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1451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1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6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5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12" name="TextovéPole 11">
            <a:extLst>
              <a:ext uri="{FF2B5EF4-FFF2-40B4-BE49-F238E27FC236}">
                <a16:creationId xmlns:a16="http://schemas.microsoft.com/office/drawing/2014/main" id="{107070DB-7A5B-419B-A663-E01DC064A02B}"/>
              </a:ext>
            </a:extLst>
          </p:cNvPr>
          <p:cNvSpPr txBox="1"/>
          <p:nvPr/>
        </p:nvSpPr>
        <p:spPr>
          <a:xfrm>
            <a:off x="6095202" y="6093400"/>
            <a:ext cx="609679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Počty aktuálně pozitivních ZP jsou nadhodnocené z důvodu zpoždění v aktualizaci údajů o negativitě/ vyléčení, které u ZP provádí KHS. </a:t>
            </a:r>
            <a:r>
              <a:rPr kumimoji="0" lang="cs-CZ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hadovaný počet pravděpodobně již negativních ZP je 64 celkem (13 lékařů, 27 sester, 24 jiných ZP), odhad vychází z počtu aktuálně pozitivních ZP s datem pozitivity starším než 14 dní.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731907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aktivních lékařů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5A29735D-E67B-4582-988F-B716296F695C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2783236E-7848-4370-8C68-345D039C0ED3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12.–31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1.–7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. 1.–14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. 1.–21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. 1.–28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3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3.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76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34.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57.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21" name="Přímá spojnice se šipkou 20">
            <a:extLst>
              <a:ext uri="{FF2B5EF4-FFF2-40B4-BE49-F238E27FC236}">
                <a16:creationId xmlns:a16="http://schemas.microsoft.com/office/drawing/2014/main" id="{27813587-315E-4E66-BE39-9ABC31BF9B57}"/>
              </a:ext>
            </a:extLst>
          </p:cNvPr>
          <p:cNvCxnSpPr>
            <a:cxnSpLocks/>
          </p:cNvCxnSpPr>
          <p:nvPr/>
        </p:nvCxnSpPr>
        <p:spPr>
          <a:xfrm flipV="1">
            <a:off x="10903248" y="3333750"/>
            <a:ext cx="713991" cy="17389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581228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8" y="2"/>
            <a:ext cx="8438411" cy="576000"/>
          </a:xfrm>
        </p:spPr>
        <p:txBody>
          <a:bodyPr/>
          <a:lstStyle/>
          <a:p>
            <a:r>
              <a:rPr lang="cs-CZ" dirty="0"/>
              <a:t>Počty COVID-19 pozitivních na 100 000 osob v populaci lékařů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58189" y="1757297"/>
            <a:ext cx="1438102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lékařů (suma za hodnocený časový úsek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6A1A17EB-9ECA-4C24-8912-EF92363C1CE3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18043599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aktivních sester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9128C58E-C8E1-4A9A-AA38-61B78B4C5A96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49BB5BC4-8F9B-4AC8-9A14-74B8F167DD4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otovo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12.–31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1.–7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. 1.–14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. 1.–21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. 1.–28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3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1.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41.4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72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93.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D0616399-65E2-4E5C-8770-504EB2BACBEB}"/>
              </a:ext>
            </a:extLst>
          </p:cNvPr>
          <p:cNvCxnSpPr>
            <a:cxnSpLocks/>
          </p:cNvCxnSpPr>
          <p:nvPr/>
        </p:nvCxnSpPr>
        <p:spPr>
          <a:xfrm flipV="1">
            <a:off x="10903248" y="3333750"/>
            <a:ext cx="713991" cy="17389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330092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8102694" cy="576000"/>
          </a:xfrm>
        </p:spPr>
        <p:txBody>
          <a:bodyPr/>
          <a:lstStyle/>
          <a:p>
            <a:r>
              <a:rPr lang="cs-CZ" dirty="0"/>
              <a:t>Počty COVID-19 pozitivních na 100 000 osob v populaci sester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49877" y="1757297"/>
            <a:ext cx="1392507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sester (suma za hodnocený časový úsek)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AB75CD35-D60A-4842-A868-455961D2CCC6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03112990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ostatních ZP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9128C58E-C8E1-4A9A-AA38-61B78B4C5A96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49BB5BC4-8F9B-4AC8-9A14-74B8F167DD4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12.–31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1.–7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. 1.–14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. 1.–21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. 1.–28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0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8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5.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22.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53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22.9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19" name="Přímá spojnice se šipkou 18">
            <a:extLst>
              <a:ext uri="{FF2B5EF4-FFF2-40B4-BE49-F238E27FC236}">
                <a16:creationId xmlns:a16="http://schemas.microsoft.com/office/drawing/2014/main" id="{BB0BEADB-F6AC-4007-9CFB-2F68EC28376B}"/>
              </a:ext>
            </a:extLst>
          </p:cNvPr>
          <p:cNvCxnSpPr>
            <a:cxnSpLocks/>
          </p:cNvCxnSpPr>
          <p:nvPr/>
        </p:nvCxnSpPr>
        <p:spPr>
          <a:xfrm flipV="1">
            <a:off x="10903248" y="3333750"/>
            <a:ext cx="713991" cy="17389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170539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8" y="2"/>
            <a:ext cx="8647961" cy="576000"/>
          </a:xfrm>
        </p:spPr>
        <p:txBody>
          <a:bodyPr/>
          <a:lstStyle/>
          <a:p>
            <a:r>
              <a:rPr lang="cs-CZ" dirty="0"/>
              <a:t>Počty COVID-19 pozitivních na 100 000 osob v populaci ostatních ZP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1757297"/>
            <a:ext cx="1254858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ostatních ZP (suma za hodnocený časový úsek)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48FC8E2C-EA85-4B60-9865-EAD22E25BEC9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9392391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295147" y="695624"/>
            <a:ext cx="1160170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aktuálně aktivně působících zdravotnických pracovníků má alespoň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 dávku vakcinace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8 % lékařů</a:t>
            </a: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4 % sesterských povolání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1 % ostatních zdravotnických povolání</a:t>
            </a: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9" name="Šipka dolů 8"/>
          <p:cNvSpPr/>
          <p:nvPr/>
        </p:nvSpPr>
        <p:spPr>
          <a:xfrm>
            <a:off x="5513717" y="235506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257785" y="3112624"/>
            <a:ext cx="11767960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očkovanost ZP během podzimu 2021 vzrostla, a to ve všech profesních skupinách. Celková proočkovanost ZP dosahuje 83,8 % (jen ZP skutečně aktivní ve zdravotnictví). Roste i proočkovanost posilující dávkou. Z pracovníků, kteří na ni mají (časově) nárok, ji dosud absolvovalo 86,8 % lékařů, 77,0 % sester a 73,0 % ostatních NLZP (celkem 77,8 % všech aktivních ZP s nárokem na booster).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513717" y="622116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233332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ZP CELKEM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53E2D82D-108B-4D73-94F6-FBD731C2D303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F11535AB-AF88-4B35-89FD-7232D9821B31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12.–31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1.–7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. 1.–14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. 1.–21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. 1.–28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1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8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7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6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4.4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37.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58.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97.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E17C79AE-00D1-4FDB-8E18-ADBDC292CEBA}"/>
              </a:ext>
            </a:extLst>
          </p:cNvPr>
          <p:cNvCxnSpPr>
            <a:cxnSpLocks/>
          </p:cNvCxnSpPr>
          <p:nvPr/>
        </p:nvCxnSpPr>
        <p:spPr>
          <a:xfrm flipV="1">
            <a:off x="10903248" y="3333750"/>
            <a:ext cx="713991" cy="17389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275975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DE6E0A9-A223-4DD3-8603-31D978C3C8FE}"/>
              </a:ext>
            </a:extLst>
          </p:cNvPr>
          <p:cNvGraphicFramePr>
            <a:graphicFrameLocks noGrp="1"/>
          </p:cNvGraphicFramePr>
          <p:nvPr/>
        </p:nvGraphicFramePr>
        <p:xfrm>
          <a:off x="2343149" y="2270188"/>
          <a:ext cx="9275460" cy="3611820"/>
        </p:xfrm>
        <a:graphic>
          <a:graphicData uri="http://schemas.openxmlformats.org/drawingml/2006/table">
            <a:tbl>
              <a:tblPr/>
              <a:tblGrid>
                <a:gridCol w="772955">
                  <a:extLst>
                    <a:ext uri="{9D8B030D-6E8A-4147-A177-3AD203B41FA5}">
                      <a16:colId xmlns:a16="http://schemas.microsoft.com/office/drawing/2014/main" val="1395744879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1053167169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335638443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469710579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1321864913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2557051353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2649366783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3603037935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3943906442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2630630990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511638892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3677543690"/>
                    </a:ext>
                  </a:extLst>
                </a:gridCol>
              </a:tblGrid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0561402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A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4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766589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6185807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2042020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382136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567759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5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9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5666033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8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D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845075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AA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3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FB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7984612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6281381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1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C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1644112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C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2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6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6264631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6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7920350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C9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F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6266991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F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6A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2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8949611"/>
                  </a:ext>
                </a:extLst>
              </a:tr>
            </a:tbl>
          </a:graphicData>
        </a:graphic>
      </p:graphicFrame>
      <p:sp>
        <p:nvSpPr>
          <p:cNvPr id="10" name="TextovéPole 5">
            <a:extLst>
              <a:ext uri="{FF2B5EF4-FFF2-40B4-BE49-F238E27FC236}">
                <a16:creationId xmlns:a16="http://schemas.microsoft.com/office/drawing/2014/main" id="{E3A22678-EE0A-4F0C-80A0-91CC52509AD0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E238D39-7489-4465-AC4A-2E3C5F72A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145" y="2"/>
            <a:ext cx="7502895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1D66D047-1A81-43A9-AEC0-D36353A2C52D}"/>
              </a:ext>
            </a:extLst>
          </p:cNvPr>
          <p:cNvSpPr/>
          <p:nvPr/>
        </p:nvSpPr>
        <p:spPr>
          <a:xfrm>
            <a:off x="607274" y="64668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ktuální počet COVID-19 pozitivních,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v k 28. 1. 2022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5E2859C-4D5B-4818-B563-9E4138B938E9}"/>
              </a:ext>
            </a:extLst>
          </p:cNvPr>
          <p:cNvGraphicFramePr>
            <a:graphicFrameLocks noGrp="1"/>
          </p:cNvGraphicFramePr>
          <p:nvPr/>
        </p:nvGraphicFramePr>
        <p:xfrm>
          <a:off x="672701" y="1101986"/>
          <a:ext cx="10945906" cy="4780030"/>
        </p:xfrm>
        <a:graphic>
          <a:graphicData uri="http://schemas.openxmlformats.org/drawingml/2006/table">
            <a:tbl>
              <a:tblPr/>
              <a:tblGrid>
                <a:gridCol w="167042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533895005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1606111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422552456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401237711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36622183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915136564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5601179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711815336"/>
                    </a:ext>
                  </a:extLst>
                </a:gridCol>
              </a:tblGrid>
              <a:tr h="553235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614705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1881938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C60E1484-55C4-4B6F-A638-3236D2A6D736}"/>
              </a:ext>
            </a:extLst>
          </p:cNvPr>
          <p:cNvSpPr txBox="1"/>
          <p:nvPr/>
        </p:nvSpPr>
        <p:spPr>
          <a:xfrm>
            <a:off x="2209088" y="5966151"/>
            <a:ext cx="97513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* Úvazky včetně smluvních pracovníků za rok 2019 podle statistických zjišťování MZ za rok 2019, v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ýkaz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y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E (MZ) 2-01, E (MZ) 3-01 a E (MZ) 4-01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D38389EE-F8C1-4AAD-BB2B-BF9F71F72F8C}"/>
              </a:ext>
            </a:extLst>
          </p:cNvPr>
          <p:cNvSpPr txBox="1"/>
          <p:nvPr/>
        </p:nvSpPr>
        <p:spPr>
          <a:xfrm>
            <a:off x="4911603" y="6276375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revná škála vizualizuje rozsah hodnot v územích v rámci sledovaného ukazatele (sloupce)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1834C1AC-8D63-45D3-ADC1-6A054BF785C6}"/>
              </a:ext>
            </a:extLst>
          </p:cNvPr>
          <p:cNvGrpSpPr/>
          <p:nvPr/>
        </p:nvGrpSpPr>
        <p:grpSpPr>
          <a:xfrm>
            <a:off x="2768481" y="6338662"/>
            <a:ext cx="2143122" cy="171474"/>
            <a:chOff x="2185672" y="6586960"/>
            <a:chExt cx="2143122" cy="171474"/>
          </a:xfrm>
        </p:grpSpPr>
        <p:sp>
          <p:nvSpPr>
            <p:cNvPr id="22" name="TextovéPole 21">
              <a:extLst>
                <a:ext uri="{FF2B5EF4-FFF2-40B4-BE49-F238E27FC236}">
                  <a16:creationId xmlns:a16="http://schemas.microsoft.com/office/drawing/2014/main" id="{9B93F5A1-61AB-4ADF-8174-6F49ABD78FD6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in %                                    max %</a:t>
              </a:r>
            </a:p>
          </p:txBody>
        </p:sp>
        <p:pic>
          <p:nvPicPr>
            <p:cNvPr id="24" name="Obrázek 23">
              <a:extLst>
                <a:ext uri="{FF2B5EF4-FFF2-40B4-BE49-F238E27FC236}">
                  <a16:creationId xmlns:a16="http://schemas.microsoft.com/office/drawing/2014/main" id="{A9AA69C9-AA2B-4055-9A8C-660DAE0AD60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1932252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BA625DDF-5430-4B3E-9CC1-AD0F57FC8802}"/>
              </a:ext>
            </a:extLst>
          </p:cNvPr>
          <p:cNvGraphicFramePr>
            <a:graphicFrameLocks noGrp="1"/>
          </p:cNvGraphicFramePr>
          <p:nvPr/>
        </p:nvGraphicFramePr>
        <p:xfrm>
          <a:off x="3787238" y="2009305"/>
          <a:ext cx="7347932" cy="3983610"/>
        </p:xfrm>
        <a:graphic>
          <a:graphicData uri="http://schemas.openxmlformats.org/drawingml/2006/table">
            <a:tbl>
              <a:tblPr/>
              <a:tblGrid>
                <a:gridCol w="1836983">
                  <a:extLst>
                    <a:ext uri="{9D8B030D-6E8A-4147-A177-3AD203B41FA5}">
                      <a16:colId xmlns:a16="http://schemas.microsoft.com/office/drawing/2014/main" val="2154024084"/>
                    </a:ext>
                  </a:extLst>
                </a:gridCol>
                <a:gridCol w="1836983">
                  <a:extLst>
                    <a:ext uri="{9D8B030D-6E8A-4147-A177-3AD203B41FA5}">
                      <a16:colId xmlns:a16="http://schemas.microsoft.com/office/drawing/2014/main" val="2454397348"/>
                    </a:ext>
                  </a:extLst>
                </a:gridCol>
                <a:gridCol w="1836983">
                  <a:extLst>
                    <a:ext uri="{9D8B030D-6E8A-4147-A177-3AD203B41FA5}">
                      <a16:colId xmlns:a16="http://schemas.microsoft.com/office/drawing/2014/main" val="2048797088"/>
                    </a:ext>
                  </a:extLst>
                </a:gridCol>
                <a:gridCol w="1836983">
                  <a:extLst>
                    <a:ext uri="{9D8B030D-6E8A-4147-A177-3AD203B41FA5}">
                      <a16:colId xmlns:a16="http://schemas.microsoft.com/office/drawing/2014/main" val="3733842130"/>
                    </a:ext>
                  </a:extLst>
                </a:gridCol>
              </a:tblGrid>
              <a:tr h="265574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2680443"/>
                  </a:ext>
                </a:extLst>
              </a:tr>
              <a:tr h="265574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007564"/>
                  </a:ext>
                </a:extLst>
              </a:tr>
              <a:tr h="265574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0798800"/>
                  </a:ext>
                </a:extLst>
              </a:tr>
              <a:tr h="265574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0493375"/>
                  </a:ext>
                </a:extLst>
              </a:tr>
              <a:tr h="265574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7388109"/>
                  </a:ext>
                </a:extLst>
              </a:tr>
              <a:tr h="265574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3960196"/>
                  </a:ext>
                </a:extLst>
              </a:tr>
              <a:tr h="265574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308219"/>
                  </a:ext>
                </a:extLst>
              </a:tr>
              <a:tr h="265574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2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7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4967280"/>
                  </a:ext>
                </a:extLst>
              </a:tr>
              <a:tr h="265574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5290951"/>
                  </a:ext>
                </a:extLst>
              </a:tr>
              <a:tr h="265574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0219305"/>
                  </a:ext>
                </a:extLst>
              </a:tr>
              <a:tr h="265574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A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6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A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2344806"/>
                  </a:ext>
                </a:extLst>
              </a:tr>
              <a:tr h="265574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7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0001503"/>
                  </a:ext>
                </a:extLst>
              </a:tr>
              <a:tr h="265574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0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9305848"/>
                  </a:ext>
                </a:extLst>
              </a:tr>
              <a:tr h="265574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2594754"/>
                  </a:ext>
                </a:extLst>
              </a:tr>
              <a:tr h="265574"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16071"/>
                  </a:ext>
                </a:extLst>
              </a:tr>
            </a:tbl>
          </a:graphicData>
        </a:graphic>
      </p:graphicFrame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(ZP)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1093858" y="1238720"/>
          <a:ext cx="10041310" cy="4754200"/>
        </p:xfrm>
        <a:graphic>
          <a:graphicData uri="http://schemas.openxmlformats.org/drawingml/2006/table">
            <a:tbl>
              <a:tblPr/>
              <a:tblGrid>
                <a:gridCol w="269440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76394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Počet celkem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(*z toho v nemocnicích akutní lůžkové péče / ambulance PL, PLDD, PL gynekolog / ambulance zubního lékaře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 (158 / 27 / 3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1 (343 / 27 / 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6 (210 / - / 3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9 (711 / 54 / 7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 (35 / 14 / 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 (112 / 9 / 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 (77 / - / 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2 (224 / 23 / 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8 / 5 / 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 (70 / 5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 (45 / - / 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 (143 / 10 / 2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0 / 5 / 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70 / 9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40 / -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 (130 / 14 / 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8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26 / 3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19 / -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53 / 4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1 / 9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62 / 9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 (59 / 1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 (142 / 19 / 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24 / 9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 (63 / 5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43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 (130 / 14 / 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32 / 3 / 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 (86 / 8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36 / 2 / 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 (154 / 13 / 2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22 / 4 / 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63 / 4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29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 (114 / 8 / 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20 / 5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(46 / 7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(25 / 2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91 / 14 / 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64 / 11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 (134 / 15 / 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 (82 / 1 / 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9 (280 / 27 / 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33 / 9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78 / 11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45 / 1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 (156 / 21 / 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18 / 7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64 / 11 / 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(32 / - / 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 (114 / 18 / 2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57 / 17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 (155 / 18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 (104 / 1 / 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7 (316 / 36 / 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4 (540 / 126 / 10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1 (1372 / 141 / 7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6 (846 / 8 / 12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91 (2758 / 275 / 29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6" name="Obdélník 4">
            <a:extLst>
              <a:ext uri="{FF2B5EF4-FFF2-40B4-BE49-F238E27FC236}">
                <a16:creationId xmlns:a16="http://schemas.microsoft.com/office/drawing/2014/main" id="{CF4F4DD4-5D05-4AA4-B6B7-30E2E7BF4344}"/>
              </a:ext>
            </a:extLst>
          </p:cNvPr>
          <p:cNvSpPr/>
          <p:nvPr/>
        </p:nvSpPr>
        <p:spPr>
          <a:xfrm>
            <a:off x="609693" y="72472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za 7denní období 22. 1. – 28. 1. 2022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7DA84AC6-10F0-4D41-9F1A-6572994DE132}"/>
              </a:ext>
            </a:extLst>
          </p:cNvPr>
          <p:cNvSpPr txBox="1"/>
          <p:nvPr/>
        </p:nvSpPr>
        <p:spPr>
          <a:xfrm>
            <a:off x="3707125" y="6081831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revné škály vizualizují rozsah hodnot v územích v rámci sledovaného ukazatele (sloupce)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648325E5-F71A-402A-B781-52C4AA1B55C4}"/>
              </a:ext>
            </a:extLst>
          </p:cNvPr>
          <p:cNvSpPr txBox="1"/>
          <p:nvPr/>
        </p:nvSpPr>
        <p:spPr>
          <a:xfrm>
            <a:off x="1495631" y="6316806"/>
            <a:ext cx="9383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dravotničtí pracovníci mohou být zaměstnáni ve více typech zdravotnických zařízení a jsou pak započítáni do každé příslušné skupiny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747C38F7-A7F7-4B0C-9D0A-01511E1A6161}"/>
              </a:ext>
            </a:extLst>
          </p:cNvPr>
          <p:cNvGrpSpPr/>
          <p:nvPr/>
        </p:nvGrpSpPr>
        <p:grpSpPr>
          <a:xfrm>
            <a:off x="1592578" y="6134593"/>
            <a:ext cx="2143122" cy="171474"/>
            <a:chOff x="2185672" y="6586960"/>
            <a:chExt cx="2143122" cy="171474"/>
          </a:xfrm>
        </p:grpSpPr>
        <p:sp>
          <p:nvSpPr>
            <p:cNvPr id="18" name="TextovéPole 17">
              <a:extLst>
                <a:ext uri="{FF2B5EF4-FFF2-40B4-BE49-F238E27FC236}">
                  <a16:creationId xmlns:a16="http://schemas.microsoft.com/office/drawing/2014/main" id="{159EDEC4-9347-43EC-A452-533F0BDD4739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in %                                    max %</a:t>
              </a:r>
            </a:p>
          </p:txBody>
        </p:sp>
        <p:pic>
          <p:nvPicPr>
            <p:cNvPr id="19" name="Obrázek 18">
              <a:extLst>
                <a:ext uri="{FF2B5EF4-FFF2-40B4-BE49-F238E27FC236}">
                  <a16:creationId xmlns:a16="http://schemas.microsoft.com/office/drawing/2014/main" id="{67B50C2A-82CD-4E17-A551-738737906C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3538281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6"/>
            <a:ext cx="12192000" cy="1890853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I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ákazy zdravotnických pracovníků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 ochranný efekt očkování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23631487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09330" y="3624"/>
            <a:ext cx="11462559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 v populaci ZP celkem 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A0B88B6-A122-42D4-8249-DE000D8A7E7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888805" y="1376200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P celkem</a:t>
            </a:r>
          </a:p>
        </p:txBody>
      </p:sp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24C0D3B3-E868-48ED-8B20-E96346203717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2" name="Tabulka 6">
            <a:extLst>
              <a:ext uri="{FF2B5EF4-FFF2-40B4-BE49-F238E27FC236}">
                <a16:creationId xmlns:a16="http://schemas.microsoft.com/office/drawing/2014/main" id="{75D422DF-F902-4FEB-95E0-74A260757A75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9954448" y="579624"/>
          <a:ext cx="2237552" cy="2103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37552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31376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Bez očkování nebo </a:t>
                      </a:r>
                    </a:p>
                    <a:p>
                      <a:r>
                        <a:rPr lang="cs-CZ" sz="1600" dirty="0"/>
                        <a:t>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</a:t>
                      </a:r>
                    </a:p>
                    <a:p>
                      <a:r>
                        <a:rPr lang="cs-CZ" sz="1600" dirty="0"/>
                        <a:t>bez posilující dávk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</a:t>
                      </a:r>
                    </a:p>
                    <a:p>
                      <a:r>
                        <a:rPr lang="cs-CZ" sz="1600" dirty="0"/>
                        <a:t>s posilující dávkou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2753142"/>
                  </a:ext>
                </a:extLst>
              </a:tr>
            </a:tbl>
          </a:graphicData>
        </a:graphic>
      </p:graphicFrame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7CE6062-A746-4B16-BD2A-949B93077515}"/>
              </a:ext>
            </a:extLst>
          </p:cNvPr>
          <p:cNvGrpSpPr/>
          <p:nvPr/>
        </p:nvGrpSpPr>
        <p:grpSpPr>
          <a:xfrm>
            <a:off x="9452933" y="1218878"/>
            <a:ext cx="501515" cy="1254265"/>
            <a:chOff x="8290713" y="1759987"/>
            <a:chExt cx="501515" cy="1250887"/>
          </a:xfrm>
        </p:grpSpPr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EF37563C-7EBE-4F25-BEB6-D430463D6421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3010874"/>
              <a:ext cx="496800" cy="0"/>
            </a:xfrm>
            <a:prstGeom prst="line">
              <a:avLst/>
            </a:prstGeom>
            <a:ln w="50800" cmpd="sng"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5C8167A6-4279-4A9B-B47B-88A5FD918BA6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2348462"/>
              <a:ext cx="496800" cy="0"/>
            </a:xfrm>
            <a:prstGeom prst="line">
              <a:avLst/>
            </a:prstGeom>
            <a:ln w="50800" cmpd="sng">
              <a:solidFill>
                <a:srgbClr val="517BC8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8" name="Přímá spojnice 17">
              <a:extLst>
                <a:ext uri="{FF2B5EF4-FFF2-40B4-BE49-F238E27FC236}">
                  <a16:creationId xmlns:a16="http://schemas.microsoft.com/office/drawing/2014/main" id="{FAA41837-EA61-4D95-BFBF-CF1F1DFE6706}"/>
                </a:ext>
              </a:extLst>
            </p:cNvPr>
            <p:cNvCxnSpPr>
              <a:cxnSpLocks/>
            </p:cNvCxnSpPr>
            <p:nvPr/>
          </p:nvCxnSpPr>
          <p:spPr>
            <a:xfrm>
              <a:off x="8295428" y="1759987"/>
              <a:ext cx="496800" cy="0"/>
            </a:xfrm>
            <a:prstGeom prst="line">
              <a:avLst/>
            </a:prstGeom>
            <a:ln w="50800" cmpd="sng">
              <a:solidFill>
                <a:srgbClr val="C41111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2773141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– ZP celkem 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535052" y="584090"/>
            <a:ext cx="4054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ZP celkem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/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007B7F61-2FDD-429A-A54E-2F0F9482D1BE}"/>
              </a:ext>
            </a:extLst>
          </p:cNvPr>
          <p:cNvSpPr txBox="1"/>
          <p:nvPr/>
        </p:nvSpPr>
        <p:spPr>
          <a:xfrm>
            <a:off x="262533" y="5249581"/>
            <a:ext cx="1176521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vakcinace proti nákaze v čase významně klesá, což je mimo jiné i důsledek nastupujícího šíření varianty Omikron. Avšak posilující dávka vrací ochranu proti nákaze zpět nad hodnotu 70% až 85%. Zdravotničtí pracovníci jsou v tomto ohledu velmi důležitý model, jde o profesní skupinu primárně vystavenou riziku nákazy. Zásadním faktem ovšem je, že ochranný efekt vakcinace proti těžkému průběhu nemoci trvá i v této profesní kategorii. V současnosti registrujeme pouze jednotky ZP s těžším průběhem nemoci po očkování. 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4" name="Table 5">
            <a:extLst>
              <a:ext uri="{FF2B5EF4-FFF2-40B4-BE49-F238E27FC236}">
                <a16:creationId xmlns:a16="http://schemas.microsoft.com/office/drawing/2014/main" id="{EE7F0968-1D74-454A-B8F1-2CA82A377390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74256" y="597598"/>
          <a:ext cx="11145281" cy="4377040"/>
        </p:xfrm>
        <a:graphic>
          <a:graphicData uri="http://schemas.openxmlformats.org/drawingml/2006/table">
            <a:tbl>
              <a:tblPr/>
              <a:tblGrid>
                <a:gridCol w="1560945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5200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1791855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1838036">
                  <a:extLst>
                    <a:ext uri="{9D8B030D-6E8A-4147-A177-3AD203B41FA5}">
                      <a16:colId xmlns:a16="http://schemas.microsoft.com/office/drawing/2014/main" val="205287478"/>
                    </a:ext>
                  </a:extLst>
                </a:gridCol>
                <a:gridCol w="1930400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  <a:gridCol w="1788845">
                  <a:extLst>
                    <a:ext uri="{9D8B030D-6E8A-4147-A177-3AD203B41FA5}">
                      <a16:colId xmlns:a16="http://schemas.microsoft.com/office/drawing/2014/main" val="366910284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Z posilující dávk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 posilující dávk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chranný efekt dokončeného očkování BEZ posilující dávky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chranný efekt dokončeného očkování S posilující dávkou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8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0.5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9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8.9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9917005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1.8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78488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3.8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82901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-Říjen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7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9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2.3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2.6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33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5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2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4.9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8.2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97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6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4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1.4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5.2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d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43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00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2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5.1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9.6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</a:tbl>
          </a:graphicData>
        </a:graphic>
      </p:graphicFrame>
      <p:sp>
        <p:nvSpPr>
          <p:cNvPr id="15" name="TextBox 6">
            <a:extLst>
              <a:ext uri="{FF2B5EF4-FFF2-40B4-BE49-F238E27FC236}">
                <a16:creationId xmlns:a16="http://schemas.microsoft.com/office/drawing/2014/main" id="{3EDE584E-BB60-4C91-9FF4-DB13B13336B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74256" y="4943531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29. 1. 2022</a:t>
            </a:r>
          </a:p>
        </p:txBody>
      </p:sp>
    </p:spTree>
    <p:extLst>
      <p:ext uri="{BB962C8B-B14F-4D97-AF65-F5344CB8AC3E}">
        <p14:creationId xmlns:p14="http://schemas.microsoft.com/office/powerpoint/2010/main" val="150873139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97398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říloha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ákazy pracovníků sociálních služeb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(přímé hlášení od poskytovatelů)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1538267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, modul sociálních služeb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nově COVID-19 pozitivních pracovníků </a:t>
            </a:r>
            <a:br>
              <a:rPr lang="cs-CZ" dirty="0"/>
            </a:br>
            <a:r>
              <a:rPr lang="cs-CZ" dirty="0"/>
              <a:t>v zařízeních sociálních služeb</a:t>
            </a:r>
          </a:p>
        </p:txBody>
      </p:sp>
      <p:graphicFrame>
        <p:nvGraphicFramePr>
          <p:cNvPr id="7" name="Chart 31">
            <a:extLst>
              <a:ext uri="{FF2B5EF4-FFF2-40B4-BE49-F238E27FC236}">
                <a16:creationId xmlns:a16="http://schemas.microsoft.com/office/drawing/2014/main" id="{1A0DC1DF-8CED-49FC-A4A5-065F1A64BD52}"/>
              </a:ext>
            </a:extLst>
          </p:cNvPr>
          <p:cNvGraphicFramePr/>
          <p:nvPr/>
        </p:nvGraphicFramePr>
        <p:xfrm>
          <a:off x="407350" y="1059679"/>
          <a:ext cx="8523006" cy="5486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2">
            <a:extLst>
              <a:ext uri="{FF2B5EF4-FFF2-40B4-BE49-F238E27FC236}">
                <a16:creationId xmlns:a16="http://schemas.microsoft.com/office/drawing/2014/main" id="{FDDA473E-2198-4E37-8DAB-7936176EB801}"/>
              </a:ext>
            </a:extLst>
          </p:cNvPr>
          <p:cNvSpPr txBox="1"/>
          <p:nvPr/>
        </p:nvSpPr>
        <p:spPr>
          <a:xfrm rot="16200000">
            <a:off x="-941446" y="3165866"/>
            <a:ext cx="25875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B270C58A-BB49-4257-8406-1CEB47E406EE}"/>
              </a:ext>
            </a:extLst>
          </p:cNvPr>
          <p:cNvGraphicFramePr>
            <a:graphicFrameLocks noGrp="1"/>
          </p:cNvGraphicFramePr>
          <p:nvPr/>
        </p:nvGraphicFramePr>
        <p:xfrm>
          <a:off x="9060412" y="1207371"/>
          <a:ext cx="2763052" cy="5050096"/>
        </p:xfrm>
        <a:graphic>
          <a:graphicData uri="http://schemas.openxmlformats.org/drawingml/2006/table">
            <a:tbl>
              <a:tblPr/>
              <a:tblGrid>
                <a:gridCol w="1675629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087423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52037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a posledních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ní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1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enní klouzavý průměr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3011470"/>
                  </a:ext>
                </a:extLst>
              </a:tr>
            </a:tbl>
          </a:graphicData>
        </a:graphic>
      </p:graphicFrame>
      <p:sp>
        <p:nvSpPr>
          <p:cNvPr id="9" name="Obdélník 4">
            <a:extLst>
              <a:ext uri="{FF2B5EF4-FFF2-40B4-BE49-F238E27FC236}">
                <a16:creationId xmlns:a16="http://schemas.microsoft.com/office/drawing/2014/main" id="{81867BFA-1453-40BE-A29B-836824A9B5EE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ých COVID-19 pozitivních (incidence),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v k 28. 1. 2022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cxnSp>
        <p:nvCxnSpPr>
          <p:cNvPr id="11" name="Straight Connector 4">
            <a:extLst>
              <a:ext uri="{FF2B5EF4-FFF2-40B4-BE49-F238E27FC236}">
                <a16:creationId xmlns:a16="http://schemas.microsoft.com/office/drawing/2014/main" id="{FC15B3FD-8931-45F3-B9FA-489831BF4CD0}"/>
              </a:ext>
            </a:extLst>
          </p:cNvPr>
          <p:cNvCxnSpPr/>
          <p:nvPr/>
        </p:nvCxnSpPr>
        <p:spPr>
          <a:xfrm>
            <a:off x="1075769" y="1393737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5">
            <a:extLst>
              <a:ext uri="{FF2B5EF4-FFF2-40B4-BE49-F238E27FC236}">
                <a16:creationId xmlns:a16="http://schemas.microsoft.com/office/drawing/2014/main" id="{98F82CC0-F179-44D1-AED9-4C8CAA8FCD8F}"/>
              </a:ext>
            </a:extLst>
          </p:cNvPr>
          <p:cNvSpPr txBox="1"/>
          <p:nvPr/>
        </p:nvSpPr>
        <p:spPr>
          <a:xfrm>
            <a:off x="1438027" y="1224463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314430556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827676BE-FED5-4891-A49E-5B33074F0EA5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1407510" y="1169485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81739" y="2"/>
            <a:ext cx="7802892" cy="576000"/>
          </a:xfrm>
        </p:spPr>
        <p:txBody>
          <a:bodyPr/>
          <a:lstStyle/>
          <a:p>
            <a:r>
              <a:rPr lang="cs-CZ" dirty="0"/>
              <a:t>Počty COVID-19 pozitivních na 100 000 osob v populaci pracovníků v sociálních službách</a:t>
            </a:r>
            <a:r>
              <a:rPr lang="en-US" dirty="0"/>
              <a:t>*</a:t>
            </a:r>
            <a:endParaRPr lang="cs-CZ" dirty="0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58189" y="1856023"/>
            <a:ext cx="1438102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pracovníků v sociálních službách (suma za hodnocený časový úsek)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98FA2216-F217-4BAB-A9D1-49D7EE7FFB73}"/>
              </a:ext>
            </a:extLst>
          </p:cNvPr>
          <p:cNvSpPr txBox="1"/>
          <p:nvPr/>
        </p:nvSpPr>
        <p:spPr>
          <a:xfrm>
            <a:off x="245294" y="6380943"/>
            <a:ext cx="119467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íci v zařízeních, které zadávají informace do sociálního modulu ISIN, což odpovídá asi 8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v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š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c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ů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n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l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ž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429794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zdravotničtí pracovníci </a:t>
            </a:r>
            <a:r>
              <a:rPr lang="cs-CZ" u="sng" dirty="0"/>
              <a:t>celkem</a:t>
            </a: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0C428FC5-EA14-48AE-B731-D5EA9FEB98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5274406"/>
              </p:ext>
            </p:extLst>
          </p:nvPr>
        </p:nvGraphicFramePr>
        <p:xfrm>
          <a:off x="356585" y="1390934"/>
          <a:ext cx="11149615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23702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387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Celkový počet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7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4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 5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 4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9 3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 10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65 6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84 9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7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8. 1. 2022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C6F37292-6D98-4BA4-B894-BD354102F974}"/>
              </a:ext>
            </a:extLst>
          </p:cNvPr>
          <p:cNvSpPr/>
          <p:nvPr/>
        </p:nvSpPr>
        <p:spPr>
          <a:xfrm>
            <a:off x="330707" y="5686170"/>
            <a:ext cx="1145410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* Počet zdravotnických pracovníků </a:t>
            </a:r>
            <a:r>
              <a:rPr lang="cs-CZ" sz="1100" dirty="0">
                <a:solidFill>
                  <a:srgbClr val="000000"/>
                </a:solidFill>
              </a:rPr>
              <a:t>evidovaných v NZIS (Národní registr zdravotnických pracovníků – NRZP)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255987" y="618549"/>
            <a:ext cx="1169788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Tabulka tedy nereflektuje, zda daný ZP skutečně vykonává zdravotnické povolání v ČR. Zahrnuti jsou i ZP v seniorním, důchodovém, věku. 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60C7B47A-DD4D-4AD1-9492-34EAE5D35895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3699004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28. 1. 2022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7694019"/>
              </p:ext>
            </p:extLst>
          </p:nvPr>
        </p:nvGraphicFramePr>
        <p:xfrm>
          <a:off x="356585" y="1390934"/>
          <a:ext cx="11273439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77273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64698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2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0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 2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 3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 4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 0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0 0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9 4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3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0782301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sz="1800" dirty="0"/>
              <a:t>Očkování zdravotnických pracovníků – počty očkovaných v čas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35D0792-DA3D-4697-90DD-E7E191A14A9B}"/>
              </a:ext>
            </a:extLst>
          </p:cNvPr>
          <p:cNvSpPr txBox="1"/>
          <p:nvPr/>
        </p:nvSpPr>
        <p:spPr>
          <a:xfrm rot="16200000">
            <a:off x="-2049215" y="2820163"/>
            <a:ext cx="46818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 očkovaných (alespoň první dávka)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FDFE61B8-F449-4A66-9A16-364371C6A08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43774182"/>
              </p:ext>
            </p:extLst>
          </p:nvPr>
        </p:nvGraphicFramePr>
        <p:xfrm>
          <a:off x="561974" y="759913"/>
          <a:ext cx="11377929" cy="4988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35619201-FB04-4641-AC77-14154175A6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2159409"/>
              </p:ext>
            </p:extLst>
          </p:nvPr>
        </p:nvGraphicFramePr>
        <p:xfrm>
          <a:off x="10344150" y="2181222"/>
          <a:ext cx="1595753" cy="2352680"/>
        </p:xfrm>
        <a:graphic>
          <a:graphicData uri="http://schemas.openxmlformats.org/drawingml/2006/table">
            <a:tbl>
              <a:tblPr/>
              <a:tblGrid>
                <a:gridCol w="994535">
                  <a:extLst>
                    <a:ext uri="{9D8B030D-6E8A-4147-A177-3AD203B41FA5}">
                      <a16:colId xmlns:a16="http://schemas.microsoft.com/office/drawing/2014/main" val="2493138386"/>
                    </a:ext>
                  </a:extLst>
                </a:gridCol>
                <a:gridCol w="601218">
                  <a:extLst>
                    <a:ext uri="{9D8B030D-6E8A-4147-A177-3AD203B41FA5}">
                      <a16:colId xmlns:a16="http://schemas.microsoft.com/office/drawing/2014/main" val="477226283"/>
                    </a:ext>
                  </a:extLst>
                </a:gridCol>
              </a:tblGrid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P 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4 9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1664348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est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 4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0816711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tatní ZP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 1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1517692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ékař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4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1618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25C2658B-5F4D-4E25-809A-B07FC20B8E8A}"/>
              </a:ext>
            </a:extLst>
          </p:cNvPr>
          <p:cNvSpPr/>
          <p:nvPr/>
        </p:nvSpPr>
        <p:spPr>
          <a:xfrm>
            <a:off x="1752601" y="6566046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70397ABA-C686-444D-9A37-CA5AF71FAD64}"/>
              </a:ext>
            </a:extLst>
          </p:cNvPr>
          <p:cNvSpPr txBox="1"/>
          <p:nvPr/>
        </p:nvSpPr>
        <p:spPr>
          <a:xfrm>
            <a:off x="257785" y="5774033"/>
            <a:ext cx="11800865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hrnuty jsou zdravotničtí pracovníci (ZP) podle hlášení povinných subjektů do NRZP (vzdělávací instituce, poskytovatelé). Celkový počet ZP zahrnuje osoby s odpovídající odbornou způsobilostí pro výkony povolání ZP* žijící k danému datu. Výstup nezohledňuje, zda daný ZP skutečně vykonává dané povolání v ČR. Zahrnuti jsou i ZP v seniorním, důchodovém, věku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</p:txBody>
      </p:sp>
    </p:spTree>
    <p:extLst>
      <p:ext uri="{BB962C8B-B14F-4D97-AF65-F5344CB8AC3E}">
        <p14:creationId xmlns:p14="http://schemas.microsoft.com/office/powerpoint/2010/main" val="5633389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Vakcinace posilující dávkou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FC5F43CD-61A6-4942-B1EB-1AFAC38D4C4A}"/>
              </a:ext>
            </a:extLst>
          </p:cNvPr>
          <p:cNvSpPr txBox="1"/>
          <p:nvPr/>
        </p:nvSpPr>
        <p:spPr>
          <a:xfrm>
            <a:off x="5686425" y="103334"/>
            <a:ext cx="2371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8. 1. 2022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05F5D353-1230-45A8-9016-8A9D8618F6E5}"/>
              </a:ext>
            </a:extLst>
          </p:cNvPr>
          <p:cNvSpPr/>
          <p:nvPr/>
        </p:nvSpPr>
        <p:spPr>
          <a:xfrm>
            <a:off x="252076" y="600164"/>
            <a:ext cx="35317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ktivní zdravotničtí pracovníci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442B2FDB-F20E-40AA-ADF4-05FC4E7F4BF6}"/>
              </a:ext>
            </a:extLst>
          </p:cNvPr>
          <p:cNvSpPr txBox="1"/>
          <p:nvPr/>
        </p:nvSpPr>
        <p:spPr>
          <a:xfrm>
            <a:off x="252076" y="6023223"/>
            <a:ext cx="1156130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zdravotnických pracovníků (ZP) dle hlášení povinných subjektů do Národního registru zdravotnických pracovníků – NRZP (vzdělávací instituce, poskytovatelé). Celkový počet ZP zahrnuje osoby s odpovídající odbornou způsobilostí pro výkony ZP a žijící k danému datu. V této analýze jsou zahrnuti ZP, u kterých poskytovatelé zdravotních služeb nahlásili jejich aktivní výkon zaměstnání 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období od 1.9.2021 do současnosti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v ambulantním sektoru mohou být tyto počty mírně nedohlášené). 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07918BD6-47A7-4629-B00F-7C350B485540}"/>
              </a:ext>
            </a:extLst>
          </p:cNvPr>
          <p:cNvSpPr/>
          <p:nvPr/>
        </p:nvSpPr>
        <p:spPr>
          <a:xfrm>
            <a:off x="1752601" y="6566046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0106F417-40A8-41A4-A3D6-B22D419501BE}"/>
              </a:ext>
            </a:extLst>
          </p:cNvPr>
          <p:cNvSpPr/>
          <p:nvPr/>
        </p:nvSpPr>
        <p:spPr>
          <a:xfrm>
            <a:off x="252076" y="5668681"/>
            <a:ext cx="9158276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Přeočkování posilující dávkou je možné pro osoby, které mají nejméně 6 měsíců (v této analýze 182 dnů) po aplikaci ukončovací (druhé) dávk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* Jeden zdravotnický pracovník může působit ve více krajích, do celkového počtu je zahrnut pouze jednou. </a:t>
            </a:r>
          </a:p>
        </p:txBody>
      </p:sp>
      <p:graphicFrame>
        <p:nvGraphicFramePr>
          <p:cNvPr id="10" name="Table 2">
            <a:extLst>
              <a:ext uri="{FF2B5EF4-FFF2-40B4-BE49-F238E27FC236}">
                <a16:creationId xmlns:a16="http://schemas.microsoft.com/office/drawing/2014/main" id="{300A08B3-B18A-4DE9-97BC-1912730507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2150625"/>
              </p:ext>
            </p:extLst>
          </p:nvPr>
        </p:nvGraphicFramePr>
        <p:xfrm>
          <a:off x="315344" y="958340"/>
          <a:ext cx="11561311" cy="4698672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1744287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216406433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10018221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1759659700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2767492860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2826083769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773291409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497186403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2413921439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843981191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182885545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067111112"/>
                    </a:ext>
                  </a:extLst>
                </a:gridCol>
              </a:tblGrid>
              <a:tr h="61364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Zdravotničtí pracovníci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ékaři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včetně zubních lékařů)</a:t>
                      </a:r>
                      <a:endParaRPr lang="cs-CZ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stry</a:t>
                      </a:r>
                      <a:r>
                        <a:rPr lang="cs-CZ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tatní zdravotničtí pracovníci </a:t>
                      </a:r>
                    </a:p>
                    <a:p>
                      <a:pPr algn="ctr" fontAlgn="ctr"/>
                      <a:r>
                        <a:rPr lang="cs-CZ" sz="10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NLZP § 7 až § 42 kromě § 21b, farmaceuti)</a:t>
                      </a:r>
                      <a:endParaRPr lang="cs-CZ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3287447"/>
                  </a:ext>
                </a:extLst>
              </a:tr>
              <a:tr h="60099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raj podle místa působení*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Hlavní město Prah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4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3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2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5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0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Středoče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4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9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Jihoče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8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Plzeň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8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arlovar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Ústec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4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8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Liber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álovéhrad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5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Pardubi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2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aj Vysočin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0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255710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Jihomorav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1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7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2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Olomou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7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Zlín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23355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 dirty="0">
                          <a:effectLst/>
                        </a:rPr>
                        <a:t>Moravskoslez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4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7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8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22116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CELKEM**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1 9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9 3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8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0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 2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 7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 8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5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2678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11971" y="5699414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 Jedna osoba může být evidována na více typech pracovních pozic uvedených ve výstupu, v celkovém součtu je zahrnuta pouze jednou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37535" y="592671"/>
            <a:ext cx="114541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28. 1. 2022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94621"/>
            <a:ext cx="828039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36579048-BB0C-4A41-91BF-EE6AEF0D25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3457348"/>
              </p:ext>
            </p:extLst>
          </p:nvPr>
        </p:nvGraphicFramePr>
        <p:xfrm>
          <a:off x="337535" y="1200434"/>
          <a:ext cx="11516932" cy="4496159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2910490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104900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853433740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1897229050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4290228433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1516975932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50319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dirty="0"/>
                        <a:t>Zdravotničtí pracovníci evidovaní v NZIS podle pracovních pozic*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effectLst/>
                        </a:rPr>
                        <a:t>Počet zdravotnických pracovníků**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Očkovaní celkem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S posilující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S ukončovací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Pouze s 1.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Prodělali onemocnění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Ostatní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35428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včetně zubních lékařů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2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091 (88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071 (72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72 (14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8 (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56 (2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46 (9,1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5101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§ 5 Všeobecná sestra, § 5a Dětská sestra, § 6 Porodní asistentka, § 21b Praktická sestra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 2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 322 (83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 754 (58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622 (24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6 (0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84 (8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90 (8,1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35428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 4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 062 (81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530 (53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734 (26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8 (0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40 (8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86 (10,3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3631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03 (79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41 (53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26 (25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6 (1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73 (8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08 (12,0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90077023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70 (80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87 (50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06 (28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(1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4 (10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9 (9,5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52189762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8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74 (82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867 (53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67 (27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0 (0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09 (8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73 (9,2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6871678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45 (86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19 (64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8 (21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(0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9 (5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8 (7,2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49172008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04 (76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24 (48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07 (27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 (0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4 (1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9 (13,0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46653829"/>
                  </a:ext>
                </a:extLst>
              </a:tr>
              <a:tr h="462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  <a:p>
                      <a:pPr algn="l" fontAlgn="ctr"/>
                      <a:r>
                        <a:rPr lang="cs-C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§ 8 Radiologický asistent, § 9 Zdravotní laborant, § 26 Odborný pracovník v laboratorních metodách a v přípravě léčivých přípravků, § 30 Laboratorní asistent, § 41 Autoptický laborant)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32 (82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90 (55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41 (26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 (0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35 (8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25 (9,0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84958823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291 (81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16 (53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10 (26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5 (0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05 (8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21 (10,5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24713135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u="none" strike="noStrike" dirty="0">
                          <a:effectLst/>
                        </a:rPr>
                        <a:t>CELKEM**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0 0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9 475 (83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49 355 (59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8 128 (23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 992 (0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7 880 (7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 722 (9,1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467815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11971" y="5699414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 Jedna osoba může být evidována na více typech pracovních pozic uvedených ve výstupu, v celkovém součtu je zahrnuta pouze jednou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37535" y="592671"/>
            <a:ext cx="114541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28. 1. 2022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94621"/>
            <a:ext cx="828039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57D8B5EC-D4C4-4142-B9B3-D668437D750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32560001"/>
              </p:ext>
            </p:extLst>
          </p:nvPr>
        </p:nvGraphicFramePr>
        <p:xfrm>
          <a:off x="847725" y="981075"/>
          <a:ext cx="10696575" cy="4924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5E273B3-595D-4506-8111-3C0DC2F8EF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0564749"/>
              </p:ext>
            </p:extLst>
          </p:nvPr>
        </p:nvGraphicFramePr>
        <p:xfrm>
          <a:off x="11229975" y="1724026"/>
          <a:ext cx="824515" cy="3975389"/>
        </p:xfrm>
        <a:graphic>
          <a:graphicData uri="http://schemas.openxmlformats.org/drawingml/2006/table">
            <a:tbl>
              <a:tblPr firstRow="1" lastRow="1" bandRow="1"/>
              <a:tblGrid>
                <a:gridCol w="824515">
                  <a:extLst>
                    <a:ext uri="{9D8B030D-6E8A-4147-A177-3AD203B41FA5}">
                      <a16:colId xmlns:a16="http://schemas.microsoft.com/office/drawing/2014/main" val="2631467471"/>
                    </a:ext>
                  </a:extLst>
                </a:gridCol>
              </a:tblGrid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52 2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0562307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05 2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5743896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2 4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5828545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4 2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18676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5 6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7157132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5 8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065932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4 5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82687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2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828598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4 6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471299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1 2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1670276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50 0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601955"/>
                  </a:ext>
                </a:extLst>
              </a:tr>
            </a:tbl>
          </a:graphicData>
        </a:graphic>
      </p:graphicFrame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4AA833D1-7B4A-4D1C-A2B1-06653D5E7670}"/>
              </a:ext>
            </a:extLst>
          </p:cNvPr>
          <p:cNvGraphicFramePr>
            <a:graphicFrameLocks noGrp="1"/>
          </p:cNvGraphicFramePr>
          <p:nvPr/>
        </p:nvGraphicFramePr>
        <p:xfrm>
          <a:off x="257786" y="1724025"/>
          <a:ext cx="2342539" cy="39753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42539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</a:tblGrid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včetně zubních lékařů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§ 5 Všeobecná sestra, § 5a Dětská sestra, § 6 Porodní asistentka, § 21b Praktická sestra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0077023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2189762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687167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917200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665382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4958823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4713135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CELKEM**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54710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" val="{&quot;SavedSwatch&quot;:&quot;-16748873|-10780376|-3468525|-5151986|-9539986|Markido&quot;,&quot;Id&quot;:&quot;60abf0963433422b508f8030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2F500C3B-2BAF-4CA5-849A-B1EC376A25DB}" vid="{C99570C5-ACCF-4382-8246-136F83C28052}"/>
    </a:ext>
  </a:extLst>
</a:theme>
</file>

<file path=ppt/theme/theme2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5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568</TotalTime>
  <Words>9595</Words>
  <Application>Microsoft Office PowerPoint</Application>
  <PresentationFormat>Širokoúhlá obrazovka</PresentationFormat>
  <Paragraphs>2113</Paragraphs>
  <Slides>38</Slides>
  <Notes>27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4</vt:i4>
      </vt:variant>
      <vt:variant>
        <vt:lpstr>Nadpisy snímků</vt:lpstr>
      </vt:variant>
      <vt:variant>
        <vt:i4>38</vt:i4>
      </vt:variant>
    </vt:vector>
  </HeadingPairs>
  <TitlesOfParts>
    <vt:vector size="45" baseType="lpstr">
      <vt:lpstr>Calibri</vt:lpstr>
      <vt:lpstr>Arial</vt:lpstr>
      <vt:lpstr>Calibri Light</vt:lpstr>
      <vt:lpstr>Motiv Office</vt:lpstr>
      <vt:lpstr>3_Motiv Office</vt:lpstr>
      <vt:lpstr>1_Motiv Office</vt:lpstr>
      <vt:lpstr>2_Motiv Office</vt:lpstr>
      <vt:lpstr>Prezentace aplikace PowerPoint</vt:lpstr>
      <vt:lpstr>Prezentace aplikace PowerPoint</vt:lpstr>
      <vt:lpstr>Očkování zdravotnických pracovníků </vt:lpstr>
      <vt:lpstr>Očkovaní zdravotničtí pracovníci celkem</vt:lpstr>
      <vt:lpstr>Očkovaní aktivní zdravotničtí pracovníci</vt:lpstr>
      <vt:lpstr>Očkování zdravotnických pracovníků – počty očkovaných v čase</vt:lpstr>
      <vt:lpstr>Vakcinace posilující dávkou</vt:lpstr>
      <vt:lpstr>Očkovaní aktivní zdravotničtí pracovníci</vt:lpstr>
      <vt:lpstr>Očkovaní aktivní zdravotničtí pracovníci</vt:lpstr>
      <vt:lpstr>Očkování zdravotnických pracovníků </vt:lpstr>
      <vt:lpstr>Očkovaní zdravotníci v nemocnicích akutní lůžkové péče a ZZS</vt:lpstr>
      <vt:lpstr>Očkování zdravotnických pracovníků </vt:lpstr>
      <vt:lpstr>Přehled povolání u COVID-19 pozitivních ostatních zdravotnických pracovníků za období 01/2021 – 01/2022</vt:lpstr>
      <vt:lpstr>Přehled povolání u COVID-19 pozitivních ostatních zdravotnických pracovníků za období 10/2021 – 01/2022</vt:lpstr>
      <vt:lpstr>Přehled povolání u COVID-19 pozitivních ostatních zdravotnických pracovníků za období 01/2022</vt:lpstr>
      <vt:lpstr>Očkovaní aktivní zdravotničtí pracovníci</vt:lpstr>
      <vt:lpstr>Očkovaní NLZP v nemocnicích akutní lůžkové péče a ZZS</vt:lpstr>
      <vt:lpstr>Očkovaní lékaři* podle typu zdravotnického zařízení</vt:lpstr>
      <vt:lpstr>Očkované sestry* podle typu zdravotnického zařízení</vt:lpstr>
      <vt:lpstr>Očkovaní ostatní ZP* podle typu zdravotnického zařízení</vt:lpstr>
      <vt:lpstr>Prezentace aplikace PowerPoint</vt:lpstr>
      <vt:lpstr>Počty pracovníků ve zdravotnictví s nákazou COVID-19</vt:lpstr>
      <vt:lpstr>Počty pracovníků ve zdravotnictví s nákazou COVID-19</vt:lpstr>
      <vt:lpstr>Prezentace aplikace PowerPoint</vt:lpstr>
      <vt:lpstr>Počty COVID-19 pozitivních na 100 000 osob v populaci lékařů</vt:lpstr>
      <vt:lpstr>Prezentace aplikace PowerPoint</vt:lpstr>
      <vt:lpstr>Počty COVID-19 pozitivních na 100 000 osob v populaci sester</vt:lpstr>
      <vt:lpstr>Prezentace aplikace PowerPoint</vt:lpstr>
      <vt:lpstr>Počty COVID-19 pozitivních na 100 000 osob v populaci ostatních ZP</vt:lpstr>
      <vt:lpstr>Prezentace aplikace PowerPoint</vt:lpstr>
      <vt:lpstr>Počty pracovníků ve zdravotnictví s nákazou COVID-19</vt:lpstr>
      <vt:lpstr>Počty pracovníků ve zdravotnictví (ZP) s nákazou COVID-19</vt:lpstr>
      <vt:lpstr>Prezentace aplikace PowerPoint</vt:lpstr>
      <vt:lpstr>Počet nových případů COVID-19 na 100 tis. dané kategorie v populaci ZP celkem </vt:lpstr>
      <vt:lpstr>Prezentace aplikace PowerPoint</vt:lpstr>
      <vt:lpstr>Prezentace aplikace PowerPoint</vt:lpstr>
      <vt:lpstr>Počty nově COVID-19 pozitivních pracovníků  v zařízeních sociálních služeb</vt:lpstr>
      <vt:lpstr>Počty COVID-19 pozitivních na 100 000 osob v populaci pracovníků v sociálních službách*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Dušek Ladislav prof. RNDr. Ph.D.</cp:lastModifiedBy>
  <cp:revision>847</cp:revision>
  <dcterms:created xsi:type="dcterms:W3CDTF">2020-11-11T17:36:28Z</dcterms:created>
  <dcterms:modified xsi:type="dcterms:W3CDTF">2022-01-30T17:08:40Z</dcterms:modified>
</cp:coreProperties>
</file>